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3"/>
  </p:notesMasterIdLst>
  <p:sldIdLst>
    <p:sldId id="322" r:id="rId5"/>
    <p:sldId id="336" r:id="rId6"/>
    <p:sldId id="259" r:id="rId7"/>
    <p:sldId id="332" r:id="rId8"/>
    <p:sldId id="359" r:id="rId9"/>
    <p:sldId id="364" r:id="rId10"/>
    <p:sldId id="365" r:id="rId11"/>
    <p:sldId id="335" r:id="rId12"/>
    <p:sldId id="357" r:id="rId13"/>
    <p:sldId id="373" r:id="rId14"/>
    <p:sldId id="366" r:id="rId15"/>
    <p:sldId id="374" r:id="rId16"/>
    <p:sldId id="340" r:id="rId17"/>
    <p:sldId id="343" r:id="rId18"/>
    <p:sldId id="345" r:id="rId19"/>
    <p:sldId id="348" r:id="rId20"/>
    <p:sldId id="371" r:id="rId21"/>
    <p:sldId id="372" r:id="rId22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4294" userDrawn="1">
          <p15:clr>
            <a:srgbClr val="A4A3A4"/>
          </p15:clr>
        </p15:guide>
        <p15:guide id="3" orient="horz" pos="116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C15A0C6-A9D4-C845-C9C2-73F1B8149A2C}" name="Rene Zandbergen" initials="RZ" userId="S::rene.zandbergen@asics.com::5a332893-5a58-4256-8e66-cd77709d53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2265"/>
    <a:srgbClr val="41A5C1"/>
    <a:srgbClr val="DEDF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FFA3A1-9083-4218-BD16-418FC2A97160}" v="494" dt="2025-04-23T12:01:39.3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4635"/>
  </p:normalViewPr>
  <p:slideViewPr>
    <p:cSldViewPr snapToGrid="0">
      <p:cViewPr varScale="1">
        <p:scale>
          <a:sx n="96" d="100"/>
          <a:sy n="96" d="100"/>
        </p:scale>
        <p:origin x="1632" y="464"/>
      </p:cViewPr>
      <p:guideLst>
        <p:guide orient="horz" pos="1480"/>
        <p:guide pos="4294"/>
        <p:guide orient="horz" pos="116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nno Rood" userId="4c9e5a0b-642f-4e97-82b2-a9dd8b03bdc0" providerId="ADAL" clId="{98061CD3-D57F-4B83-B7A7-C2F536B9FB81}"/>
    <pc:docChg chg="custSel delSld modSld sldOrd">
      <pc:chgData name="Menno Rood" userId="4c9e5a0b-642f-4e97-82b2-a9dd8b03bdc0" providerId="ADAL" clId="{98061CD3-D57F-4B83-B7A7-C2F536B9FB81}" dt="2025-04-24T09:41:27.654" v="11" actId="47"/>
      <pc:docMkLst>
        <pc:docMk/>
      </pc:docMkLst>
      <pc:sldChg chg="delSp mod">
        <pc:chgData name="Menno Rood" userId="4c9e5a0b-642f-4e97-82b2-a9dd8b03bdc0" providerId="ADAL" clId="{98061CD3-D57F-4B83-B7A7-C2F536B9FB81}" dt="2025-04-24T09:41:07.675" v="5" actId="478"/>
        <pc:sldMkLst>
          <pc:docMk/>
          <pc:sldMk cId="3651036424" sldId="340"/>
        </pc:sldMkLst>
        <pc:spChg chg="del">
          <ac:chgData name="Menno Rood" userId="4c9e5a0b-642f-4e97-82b2-a9dd8b03bdc0" providerId="ADAL" clId="{98061CD3-D57F-4B83-B7A7-C2F536B9FB81}" dt="2025-04-24T09:41:07.675" v="5" actId="478"/>
          <ac:spMkLst>
            <pc:docMk/>
            <pc:sldMk cId="3651036424" sldId="340"/>
            <ac:spMk id="55" creationId="{4D71062A-D68B-5832-EAEA-7EDF52DAAF5F}"/>
          </ac:spMkLst>
        </pc:spChg>
        <pc:spChg chg="del">
          <ac:chgData name="Menno Rood" userId="4c9e5a0b-642f-4e97-82b2-a9dd8b03bdc0" providerId="ADAL" clId="{98061CD3-D57F-4B83-B7A7-C2F536B9FB81}" dt="2025-04-24T09:41:07.675" v="5" actId="478"/>
          <ac:spMkLst>
            <pc:docMk/>
            <pc:sldMk cId="3651036424" sldId="340"/>
            <ac:spMk id="56" creationId="{A4F8CA04-533F-67A6-18A1-32A3F2E5ACE3}"/>
          </ac:spMkLst>
        </pc:spChg>
        <pc:spChg chg="del">
          <ac:chgData name="Menno Rood" userId="4c9e5a0b-642f-4e97-82b2-a9dd8b03bdc0" providerId="ADAL" clId="{98061CD3-D57F-4B83-B7A7-C2F536B9FB81}" dt="2025-04-24T09:41:07.675" v="5" actId="478"/>
          <ac:spMkLst>
            <pc:docMk/>
            <pc:sldMk cId="3651036424" sldId="340"/>
            <ac:spMk id="58" creationId="{99AB28CC-E077-9794-043A-40DE48CE8024}"/>
          </ac:spMkLst>
        </pc:spChg>
        <pc:picChg chg="del">
          <ac:chgData name="Menno Rood" userId="4c9e5a0b-642f-4e97-82b2-a9dd8b03bdc0" providerId="ADAL" clId="{98061CD3-D57F-4B83-B7A7-C2F536B9FB81}" dt="2025-04-24T09:41:07.675" v="5" actId="478"/>
          <ac:picMkLst>
            <pc:docMk/>
            <pc:sldMk cId="3651036424" sldId="340"/>
            <ac:picMk id="57" creationId="{80DF902E-E50B-6E42-02F3-E33C62FAB385}"/>
          </ac:picMkLst>
        </pc:picChg>
      </pc:sldChg>
      <pc:sldChg chg="del">
        <pc:chgData name="Menno Rood" userId="4c9e5a0b-642f-4e97-82b2-a9dd8b03bdc0" providerId="ADAL" clId="{98061CD3-D57F-4B83-B7A7-C2F536B9FB81}" dt="2025-04-24T09:40:57.649" v="3" actId="47"/>
        <pc:sldMkLst>
          <pc:docMk/>
          <pc:sldMk cId="764537313" sldId="341"/>
        </pc:sldMkLst>
      </pc:sldChg>
      <pc:sldChg chg="del">
        <pc:chgData name="Menno Rood" userId="4c9e5a0b-642f-4e97-82b2-a9dd8b03bdc0" providerId="ADAL" clId="{98061CD3-D57F-4B83-B7A7-C2F536B9FB81}" dt="2025-04-24T09:41:22.684" v="7" actId="47"/>
        <pc:sldMkLst>
          <pc:docMk/>
          <pc:sldMk cId="3097981172" sldId="346"/>
        </pc:sldMkLst>
      </pc:sldChg>
      <pc:sldChg chg="del">
        <pc:chgData name="Menno Rood" userId="4c9e5a0b-642f-4e97-82b2-a9dd8b03bdc0" providerId="ADAL" clId="{98061CD3-D57F-4B83-B7A7-C2F536B9FB81}" dt="2025-04-24T09:41:24.789" v="9" actId="47"/>
        <pc:sldMkLst>
          <pc:docMk/>
          <pc:sldMk cId="1693682408" sldId="350"/>
        </pc:sldMkLst>
      </pc:sldChg>
      <pc:sldChg chg="del">
        <pc:chgData name="Menno Rood" userId="4c9e5a0b-642f-4e97-82b2-a9dd8b03bdc0" providerId="ADAL" clId="{98061CD3-D57F-4B83-B7A7-C2F536B9FB81}" dt="2025-04-24T09:41:21.836" v="6" actId="47"/>
        <pc:sldMkLst>
          <pc:docMk/>
          <pc:sldMk cId="1075464728" sldId="352"/>
        </pc:sldMkLst>
      </pc:sldChg>
      <pc:sldChg chg="del">
        <pc:chgData name="Menno Rood" userId="4c9e5a0b-642f-4e97-82b2-a9dd8b03bdc0" providerId="ADAL" clId="{98061CD3-D57F-4B83-B7A7-C2F536B9FB81}" dt="2025-04-24T09:41:23.784" v="8" actId="47"/>
        <pc:sldMkLst>
          <pc:docMk/>
          <pc:sldMk cId="2998136033" sldId="354"/>
        </pc:sldMkLst>
      </pc:sldChg>
      <pc:sldChg chg="del">
        <pc:chgData name="Menno Rood" userId="4c9e5a0b-642f-4e97-82b2-a9dd8b03bdc0" providerId="ADAL" clId="{98061CD3-D57F-4B83-B7A7-C2F536B9FB81}" dt="2025-04-24T09:41:27.654" v="11" actId="47"/>
        <pc:sldMkLst>
          <pc:docMk/>
          <pc:sldMk cId="2743797092" sldId="360"/>
        </pc:sldMkLst>
      </pc:sldChg>
      <pc:sldChg chg="del">
        <pc:chgData name="Menno Rood" userId="4c9e5a0b-642f-4e97-82b2-a9dd8b03bdc0" providerId="ADAL" clId="{98061CD3-D57F-4B83-B7A7-C2F536B9FB81}" dt="2025-04-24T09:41:26.254" v="10" actId="47"/>
        <pc:sldMkLst>
          <pc:docMk/>
          <pc:sldMk cId="3973008700" sldId="369"/>
        </pc:sldMkLst>
      </pc:sldChg>
      <pc:sldChg chg="delSp mod ord">
        <pc:chgData name="Menno Rood" userId="4c9e5a0b-642f-4e97-82b2-a9dd8b03bdc0" providerId="ADAL" clId="{98061CD3-D57F-4B83-B7A7-C2F536B9FB81}" dt="2025-04-24T09:40:52.734" v="2"/>
        <pc:sldMkLst>
          <pc:docMk/>
          <pc:sldMk cId="2545693087" sldId="373"/>
        </pc:sldMkLst>
        <pc:spChg chg="del">
          <ac:chgData name="Menno Rood" userId="4c9e5a0b-642f-4e97-82b2-a9dd8b03bdc0" providerId="ADAL" clId="{98061CD3-D57F-4B83-B7A7-C2F536B9FB81}" dt="2025-04-24T09:40:51.335" v="0" actId="478"/>
          <ac:spMkLst>
            <pc:docMk/>
            <pc:sldMk cId="2545693087" sldId="373"/>
            <ac:spMk id="82" creationId="{F9A7990B-197A-06B0-4FEC-C36BB89AF917}"/>
          </ac:spMkLst>
        </pc:spChg>
        <pc:spChg chg="del">
          <ac:chgData name="Menno Rood" userId="4c9e5a0b-642f-4e97-82b2-a9dd8b03bdc0" providerId="ADAL" clId="{98061CD3-D57F-4B83-B7A7-C2F536B9FB81}" dt="2025-04-24T09:40:51.335" v="0" actId="478"/>
          <ac:spMkLst>
            <pc:docMk/>
            <pc:sldMk cId="2545693087" sldId="373"/>
            <ac:spMk id="83" creationId="{A40B3CE3-6D9A-73B4-7ADE-393DA8530F88}"/>
          </ac:spMkLst>
        </pc:spChg>
        <pc:spChg chg="del">
          <ac:chgData name="Menno Rood" userId="4c9e5a0b-642f-4e97-82b2-a9dd8b03bdc0" providerId="ADAL" clId="{98061CD3-D57F-4B83-B7A7-C2F536B9FB81}" dt="2025-04-24T09:40:51.335" v="0" actId="478"/>
          <ac:spMkLst>
            <pc:docMk/>
            <pc:sldMk cId="2545693087" sldId="373"/>
            <ac:spMk id="85" creationId="{04901543-44F9-C82A-4D2F-4AD5CE100658}"/>
          </ac:spMkLst>
        </pc:spChg>
        <pc:picChg chg="del">
          <ac:chgData name="Menno Rood" userId="4c9e5a0b-642f-4e97-82b2-a9dd8b03bdc0" providerId="ADAL" clId="{98061CD3-D57F-4B83-B7A7-C2F536B9FB81}" dt="2025-04-24T09:40:51.335" v="0" actId="478"/>
          <ac:picMkLst>
            <pc:docMk/>
            <pc:sldMk cId="2545693087" sldId="373"/>
            <ac:picMk id="84" creationId="{A7648B04-AC86-5F76-2BAA-A9D30356A727}"/>
          </ac:picMkLst>
        </pc:picChg>
      </pc:sldChg>
      <pc:sldChg chg="del">
        <pc:chgData name="Menno Rood" userId="4c9e5a0b-642f-4e97-82b2-a9dd8b03bdc0" providerId="ADAL" clId="{98061CD3-D57F-4B83-B7A7-C2F536B9FB81}" dt="2025-04-24T09:40:58.347" v="4" actId="47"/>
        <pc:sldMkLst>
          <pc:docMk/>
          <pc:sldMk cId="2901304641" sldId="375"/>
        </pc:sldMkLst>
      </pc:sldChg>
    </pc:docChg>
  </pc:docChgLst>
  <pc:docChgLst>
    <pc:chgData name="Martijn van Eijk" userId="da16bcdb-5576-4416-9e5c-7c3ecd294fd8" providerId="ADAL" clId="{8427C802-9DF1-4B4F-B30D-84A0BBDC5B16}"/>
    <pc:docChg chg="sldOrd">
      <pc:chgData name="Martijn van Eijk" userId="da16bcdb-5576-4416-9e5c-7c3ecd294fd8" providerId="ADAL" clId="{8427C802-9DF1-4B4F-B30D-84A0BBDC5B16}" dt="2024-11-18T07:10:25.551" v="0" actId="20578"/>
      <pc:docMkLst>
        <pc:docMk/>
      </pc:docMkLst>
      <pc:sldChg chg="ord">
        <pc:chgData name="Martijn van Eijk" userId="da16bcdb-5576-4416-9e5c-7c3ecd294fd8" providerId="ADAL" clId="{8427C802-9DF1-4B4F-B30D-84A0BBDC5B16}" dt="2024-11-18T07:10:25.551" v="0" actId="20578"/>
        <pc:sldMkLst>
          <pc:docMk/>
          <pc:sldMk cId="238564029" sldId="359"/>
        </pc:sldMkLst>
      </pc:sldChg>
    </pc:docChg>
  </pc:docChgLst>
  <pc:docChgLst>
    <pc:chgData name="Renate Fesel" userId="da404ac4-5f76-46fb-b623-2c807d6102b2" providerId="ADAL" clId="{F06DADF6-74A6-4BA7-BCC6-0F9F50DE4CCA}"/>
    <pc:docChg chg="modNotesMaster">
      <pc:chgData name="Renate Fesel" userId="da404ac4-5f76-46fb-b623-2c807d6102b2" providerId="ADAL" clId="{F06DADF6-74A6-4BA7-BCC6-0F9F50DE4CCA}" dt="2025-02-10T09:33:47.894" v="0"/>
      <pc:docMkLst>
        <pc:docMk/>
      </pc:docMkLst>
    </pc:docChg>
  </pc:docChgLst>
  <pc:docChgLst>
    <pc:chgData name="Tomas Santiago Bonanno" userId="S::tomas.bonanno@asics.com::6aaceacc-e6ab-4b88-91ce-2cfd38f0cf3b" providerId="AD" clId="Web-{7B9574AD-5E9C-B9BA-B4BA-D3037FFEB9CB}"/>
    <pc:docChg chg="addSld modSld sldOrd">
      <pc:chgData name="Tomas Santiago Bonanno" userId="S::tomas.bonanno@asics.com::6aaceacc-e6ab-4b88-91ce-2cfd38f0cf3b" providerId="AD" clId="Web-{7B9574AD-5E9C-B9BA-B4BA-D3037FFEB9CB}" dt="2025-02-07T14:42:07.222" v="616"/>
      <pc:docMkLst>
        <pc:docMk/>
      </pc:docMkLst>
      <pc:sldChg chg="addSp delSp">
        <pc:chgData name="Tomas Santiago Bonanno" userId="S::tomas.bonanno@asics.com::6aaceacc-e6ab-4b88-91ce-2cfd38f0cf3b" providerId="AD" clId="Web-{7B9574AD-5E9C-B9BA-B4BA-D3037FFEB9CB}" dt="2025-02-07T14:28:13.101" v="25"/>
        <pc:sldMkLst>
          <pc:docMk/>
          <pc:sldMk cId="2440748235" sldId="259"/>
        </pc:sldMkLst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16" creationId="{BB29B838-792A-4356-8513-23E2E128548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19" creationId="{61071331-7BAA-4722-93E0-85AC6585C4E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22" creationId="{687D94B4-E3DC-40E4-88AA-A7146F26982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25" creationId="{70AEB742-1E7C-D109-157F-FD75479B6525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26" creationId="{436991CE-4EA3-D5AB-5CF5-DC156088CC72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28" creationId="{4883D6EA-D4A0-5DA7-5B00-42A2D9704A9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30" creationId="{6395684B-F826-1916-3F47-451F3EAF631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43" creationId="{1260CDC4-E5A8-400C-BD96-112EB4CA4C65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60" creationId="{3CB26E0A-38C1-0544-57C4-98CA92B9A0D4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13.101" v="25"/>
          <ac:spMkLst>
            <pc:docMk/>
            <pc:sldMk cId="2440748235" sldId="259"/>
            <ac:spMk id="63" creationId="{6C85B8F6-881C-A722-3257-39682461D3BF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28:47.087" v="75"/>
        <pc:sldMkLst>
          <pc:docMk/>
          <pc:sldMk cId="1370533848" sldId="332"/>
        </pc:sldMkLst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23" creationId="{1FA55A65-DE3A-3E8F-D0BE-59E21B62D07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41" creationId="{3ED4DEF7-8A06-5CD4-5C48-8425511DE78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79" creationId="{EEA76D10-F9FC-3EBD-F894-DE869017C58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81" creationId="{E12E1100-FB1E-3575-1F11-4C19C972860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85" creationId="{8738C6E2-94CE-A441-AD49-32D97EC0471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92" creationId="{F57B5776-BD97-1916-5D77-AB4E5A250EE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100" creationId="{AECF7937-7278-0F3A-1BBA-B3F343F4769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112" creationId="{BA226BF4-8617-B121-1047-BCD6ADAF79F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115" creationId="{A5FD7797-1D57-262C-9B48-C09E181A5C95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8:47.087" v="75"/>
          <ac:spMkLst>
            <pc:docMk/>
            <pc:sldMk cId="1370533848" sldId="332"/>
            <ac:spMk id="123" creationId="{13E0E014-D08B-CBA3-6CF6-00B3EB40C3FC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31:12.873" v="263"/>
        <pc:sldMkLst>
          <pc:docMk/>
          <pc:sldMk cId="3002347597" sldId="335"/>
        </pc:sldMkLst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23" creationId="{D1823B24-FD2C-4D79-A826-080112FF3A4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30" creationId="{607717C3-C377-4CCC-9BC9-BD59AEAAA73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33" creationId="{B0C2F219-D088-45CF-94BA-2934A16E153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35" creationId="{B8C0279C-56FB-4490-B9D1-CC5E65514B0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36" creationId="{AF6B9D22-CC13-4605-BBAC-0749EE736C5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39" creationId="{753A015C-4DDE-479A-8D03-ED7A4EAB7581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40" creationId="{310D1248-281A-4C90-A1AA-9A89130EF87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41" creationId="{55A6939D-5736-41BC-9117-B379D79872C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42" creationId="{C241F5DD-C7FF-A9CF-C474-6C035146A7D2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12.873" v="263"/>
          <ac:spMkLst>
            <pc:docMk/>
            <pc:sldMk cId="3002347597" sldId="335"/>
            <ac:spMk id="43" creationId="{3BC42F47-4508-C32E-08A4-6D9C4D405257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36:56.868" v="393"/>
        <pc:sldMkLst>
          <pc:docMk/>
          <pc:sldMk cId="3651036424" sldId="340"/>
        </pc:sldMkLst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7" creationId="{21CAE1D9-0FAC-426E-A03C-EBE24C17492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15" creationId="{B0C2F219-D088-45CF-94BA-2934A16E153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18" creationId="{3939CD65-7865-458A-B8AD-BC07EFDDC01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22" creationId="{C8288C05-5AB8-40CE-BEB1-0D54C70CA60A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23" creationId="{6C5B209B-A414-4080-A31C-EA53A404B1C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28" creationId="{A345644D-7D7F-4BB2-84EB-74D9B54E05D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49" creationId="{5DC6604A-67F9-7626-9DD5-E96368673D4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53" creationId="{3A17AACB-500C-896D-E343-F38AC9195F2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54" creationId="{D897BEFE-BDEA-C249-F49B-D4FEF07DF265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6:56.868" v="393"/>
          <ac:spMkLst>
            <pc:docMk/>
            <pc:sldMk cId="3651036424" sldId="340"/>
            <ac:spMk id="56" creationId="{A4F8CA04-533F-67A6-18A1-32A3F2E5ACE3}"/>
          </ac:spMkLst>
        </pc:spChg>
      </pc:sldChg>
      <pc:sldChg chg="modSp">
        <pc:chgData name="Tomas Santiago Bonanno" userId="S::tomas.bonanno@asics.com::6aaceacc-e6ab-4b88-91ce-2cfd38f0cf3b" providerId="AD" clId="Web-{7B9574AD-5E9C-B9BA-B4BA-D3037FFEB9CB}" dt="2025-02-07T14:35:39.788" v="355" actId="20577"/>
        <pc:sldMkLst>
          <pc:docMk/>
          <pc:sldMk cId="764537313" sldId="341"/>
        </pc:sldMkLst>
      </pc:sldChg>
      <pc:sldChg chg="addSp delSp">
        <pc:chgData name="Tomas Santiago Bonanno" userId="S::tomas.bonanno@asics.com::6aaceacc-e6ab-4b88-91ce-2cfd38f0cf3b" providerId="AD" clId="Web-{7B9574AD-5E9C-B9BA-B4BA-D3037FFEB9CB}" dt="2025-02-07T14:37:24.666" v="414"/>
        <pc:sldMkLst>
          <pc:docMk/>
          <pc:sldMk cId="518256622" sldId="342"/>
        </pc:sldMkLst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11" creationId="{9383DFC6-43D5-4A72-970E-B73DC3623454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13" creationId="{3939CD65-7865-458A-B8AD-BC07EFDDC01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14" creationId="{D9102EE3-2742-4AF1-9620-03A8394BC40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16" creationId="{F439C2E8-F540-451D-A8BF-405360C7A62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17" creationId="{CF36F158-AD23-45C1-BC2B-A553A21486F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18" creationId="{5A43C8FC-6F71-4AF8-8FE1-0C2AA017BFD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24" creationId="{D8C02F70-E719-4A2A-A405-5211C8D3C21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26" creationId="{72202102-0ACE-4039-A8E6-46BC1368F27A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27" creationId="{2DABBBFD-72F7-4A6F-BDAB-2F1514C84891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24.666" v="414"/>
          <ac:spMkLst>
            <pc:docMk/>
            <pc:sldMk cId="518256622" sldId="342"/>
            <ac:spMk id="28" creationId="{B5FDF55C-0243-93DB-FE2C-4A84F7872DAE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37:50.370" v="439"/>
        <pc:sldMkLst>
          <pc:docMk/>
          <pc:sldMk cId="1868421829" sldId="343"/>
        </pc:sldMkLst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16" creationId="{BB29B838-792A-4356-8513-23E2E128548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20" creationId="{8B5C6863-F6B1-4BB0-8E2B-0B95138F716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22" creationId="{B0C2F219-D088-45CF-94BA-2934A16E153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29" creationId="{781EAABC-06ED-4BA5-834E-5CD2F0106E9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30" creationId="{115ABAB4-B14F-4B51-9847-B8EF393D1BC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32" creationId="{259B6DC2-2422-4320-9A08-2F3CB2039E1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34" creationId="{29358EC0-2E5F-4C5D-94E3-6CAF5690C4BE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36" creationId="{47E6B3FB-EBE2-4307-9FE2-7DB66B417162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41" creationId="{CB3782E3-2C2F-96B1-6838-A4FE171BD51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7:50.370" v="439"/>
          <ac:spMkLst>
            <pc:docMk/>
            <pc:sldMk cId="1868421829" sldId="343"/>
            <ac:spMk id="49" creationId="{C44B84E6-1D0D-1CE5-7973-D1ED84520072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38:55.388" v="487"/>
        <pc:sldMkLst>
          <pc:docMk/>
          <pc:sldMk cId="1089569201" sldId="345"/>
        </pc:sldMkLst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7" creationId="{21CAE1D9-0FAC-426E-A03C-EBE24C17492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9" creationId="{9383DFC6-43D5-4A72-970E-B73DC3623454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15" creationId="{AB98C390-C90E-4A48-864B-C5095BCB33B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20" creationId="{7D1C9FE6-1A3B-4D1B-9C26-157DAFA52A6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22" creationId="{D49C4706-C1DE-47E1-A4A5-CBF27A53AB2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23" creationId="{13FDC153-1788-42E1-8F5A-7CDA658713F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31" creationId="{7F081D63-E877-4C5F-A489-AB793F61464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42" creationId="{987C5E32-A98F-0178-7727-4CDAE8F1956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43" creationId="{418AB429-2B4A-B7D4-BAAE-2B722AD9A0A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55.388" v="487"/>
          <ac:spMkLst>
            <pc:docMk/>
            <pc:sldMk cId="1089569201" sldId="345"/>
            <ac:spMk id="46" creationId="{72CF5A58-BD52-0503-0EF1-94F879BB171C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40:10.046" v="544"/>
        <pc:sldMkLst>
          <pc:docMk/>
          <pc:sldMk cId="3097981172" sldId="346"/>
        </pc:sldMkLst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8" creationId="{9383DFC6-43D5-4A72-970E-B73DC3623454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9" creationId="{3939CD65-7865-458A-B8AD-BC07EFDDC01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11" creationId="{6F9BB314-1443-4F40-95BD-B67DB0A2F7B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14" creationId="{1CB806A1-7224-4A91-94EE-D946372340E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19" creationId="{778A6F25-A0C7-49FA-8BD9-F631C2B96EF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20" creationId="{72951492-C1C4-4EDA-B282-87441B04153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21" creationId="{C0973AD6-561E-4371-9017-746168FD34B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23" creationId="{AF1EEA38-E652-4BFF-A453-03512559408E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24" creationId="{0E7A81A6-69AB-68F2-0D7B-E8298409B20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10.046" v="544"/>
          <ac:spMkLst>
            <pc:docMk/>
            <pc:sldMk cId="3097981172" sldId="346"/>
            <ac:spMk id="25" creationId="{FEDD1324-F147-AFF1-5C2F-009BA355F8A2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39:45.311" v="525"/>
        <pc:sldMkLst>
          <pc:docMk/>
          <pc:sldMk cId="3513931044" sldId="348"/>
        </pc:sldMkLst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12" creationId="{E6D57BF2-A194-411B-8656-4C23CE6BB5D1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18" creationId="{DD363033-9CB6-44D4-B375-1B420FE6A7D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19" creationId="{0731BCE8-D6B4-455D-81D9-5971821D7D9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20" creationId="{3DA10771-33B4-4F8E-A9FD-3DDCEB30708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21" creationId="{A693E44F-B835-4FFF-AD5D-14C532BBEC01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22" creationId="{AC31843C-AE53-02D6-C90B-2F0802E01E6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23" creationId="{610DA776-A87B-032D-6F43-B67E5FCFE73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24" creationId="{B7F30F4C-D9B6-1E74-30F0-ABF3B0FFC53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31" creationId="{113966A8-9193-2406-C380-BF8EC322702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45.311" v="525"/>
          <ac:spMkLst>
            <pc:docMk/>
            <pc:sldMk cId="3513931044" sldId="348"/>
            <ac:spMk id="32" creationId="{2EC501A3-6AF2-F1CE-95BA-B178F0878FE7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40:41.844" v="565"/>
        <pc:sldMkLst>
          <pc:docMk/>
          <pc:sldMk cId="1693682408" sldId="350"/>
        </pc:sldMkLst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6" creationId="{21CAE1D9-0FAC-426E-A03C-EBE24C17492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15" creationId="{6ADCDC82-F5A8-4F0A-B582-D175E41EBEB5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16" creationId="{8B5C6863-F6B1-4BB0-8E2B-0B95138F716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18" creationId="{986A1A8C-CB3D-49CC-81C5-7DEEBA42819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19" creationId="{842978C7-5F8F-AA4F-67CE-BCA596FE416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27" creationId="{80C85E98-F98F-B5E1-64A6-2715BA15E34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29" creationId="{D1864FBA-0860-B95C-2965-AB0DF24DA77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30" creationId="{1F14C0F4-2477-D0F3-B18D-E3CA4BCE7922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31" creationId="{4E1133BE-2630-6582-1C21-A14A2350B36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0:41.844" v="565"/>
          <ac:spMkLst>
            <pc:docMk/>
            <pc:sldMk cId="1693682408" sldId="350"/>
            <ac:spMk id="32" creationId="{DCC01990-AA4E-1C82-03AF-9F983A14B5FE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29:27.182" v="129"/>
        <pc:sldMkLst>
          <pc:docMk/>
          <pc:sldMk cId="238564029" sldId="359"/>
        </pc:sldMkLst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21" creationId="{4B8590B6-AB6A-20E1-D1BA-6ABFFA1EE34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41" creationId="{C70BE0A8-8F33-493C-8E27-A4DAC05D61F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58" creationId="{9757823C-702C-4896-B9E9-744F4E9C3B3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62" creationId="{DDA80EC1-31A7-4449-B372-E0AF6E9145C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69" creationId="{EC4F13E9-8948-4C78-BA54-88C6E492EC3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70" creationId="{E437BF80-2DC4-4504-8065-D55D75CC185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88" creationId="{999956C2-BF9D-0BC0-9AC9-DA9641745344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90" creationId="{7097AAFB-EC2C-8BC2-F061-F480E75074D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94" creationId="{B5CC2F7B-4557-5BC1-8F1F-4DA898FE37B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29:27.182" v="129"/>
          <ac:spMkLst>
            <pc:docMk/>
            <pc:sldMk cId="238564029" sldId="359"/>
            <ac:spMk id="134" creationId="{D80AAA68-5874-B176-F7EB-85B51372CFF0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41:31.440" v="591"/>
        <pc:sldMkLst>
          <pc:docMk/>
          <pc:sldMk cId="2743797092" sldId="360"/>
        </pc:sldMkLst>
        <pc:spChg chg="add">
          <ac:chgData name="Tomas Santiago Bonanno" userId="S::tomas.bonanno@asics.com::6aaceacc-e6ab-4b88-91ce-2cfd38f0cf3b" providerId="AD" clId="Web-{7B9574AD-5E9C-B9BA-B4BA-D3037FFEB9CB}" dt="2025-02-07T14:41:31.440" v="591"/>
          <ac:spMkLst>
            <pc:docMk/>
            <pc:sldMk cId="2743797092" sldId="360"/>
            <ac:spMk id="5" creationId="{9C530387-0F6F-4131-B346-5302F47720A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31.440" v="591"/>
          <ac:spMkLst>
            <pc:docMk/>
            <pc:sldMk cId="2743797092" sldId="360"/>
            <ac:spMk id="7" creationId="{A66D10EA-6B14-406E-9417-13CC6F18C8C1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31.440" v="591"/>
          <ac:spMkLst>
            <pc:docMk/>
            <pc:sldMk cId="2743797092" sldId="360"/>
            <ac:spMk id="8" creationId="{883F1C73-C3F6-47FF-A6B2-1786120068D2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31.440" v="591"/>
          <ac:spMkLst>
            <pc:docMk/>
            <pc:sldMk cId="2743797092" sldId="360"/>
            <ac:spMk id="9" creationId="{74474959-54FC-DC76-C9D1-6A34ABE3E1F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31.440" v="591"/>
          <ac:spMkLst>
            <pc:docMk/>
            <pc:sldMk cId="2743797092" sldId="360"/>
            <ac:spMk id="10" creationId="{B7A51F37-28C7-B6F8-6C34-0E182CDB1B77}"/>
          </ac:spMkLst>
        </pc:spChg>
        <pc:picChg chg="add">
          <ac:chgData name="Tomas Santiago Bonanno" userId="S::tomas.bonanno@asics.com::6aaceacc-e6ab-4b88-91ce-2cfd38f0cf3b" providerId="AD" clId="Web-{7B9574AD-5E9C-B9BA-B4BA-D3037FFEB9CB}" dt="2025-02-07T14:41:31.440" v="591"/>
          <ac:picMkLst>
            <pc:docMk/>
            <pc:sldMk cId="2743797092" sldId="360"/>
            <ac:picMk id="12" creationId="{B9747606-7C83-DF73-9279-DB75F7924190}"/>
          </ac:picMkLst>
        </pc:picChg>
        <pc:picChg chg="add">
          <ac:chgData name="Tomas Santiago Bonanno" userId="S::tomas.bonanno@asics.com::6aaceacc-e6ab-4b88-91ce-2cfd38f0cf3b" providerId="AD" clId="Web-{7B9574AD-5E9C-B9BA-B4BA-D3037FFEB9CB}" dt="2025-02-07T14:41:31.440" v="591"/>
          <ac:picMkLst>
            <pc:docMk/>
            <pc:sldMk cId="2743797092" sldId="360"/>
            <ac:picMk id="13" creationId="{BC08443F-DF66-29A5-EB4F-FD327D9E4359}"/>
          </ac:picMkLst>
        </pc:picChg>
        <pc:picChg chg="add">
          <ac:chgData name="Tomas Santiago Bonanno" userId="S::tomas.bonanno@asics.com::6aaceacc-e6ab-4b88-91ce-2cfd38f0cf3b" providerId="AD" clId="Web-{7B9574AD-5E9C-B9BA-B4BA-D3037FFEB9CB}" dt="2025-02-07T14:41:31.440" v="591"/>
          <ac:picMkLst>
            <pc:docMk/>
            <pc:sldMk cId="2743797092" sldId="360"/>
            <ac:picMk id="14" creationId="{16C91A62-6E7B-4FD9-E18B-0BA794B20192}"/>
          </ac:picMkLst>
        </pc:picChg>
      </pc:sldChg>
      <pc:sldChg chg="addSp delSp">
        <pc:chgData name="Tomas Santiago Bonanno" userId="S::tomas.bonanno@asics.com::6aaceacc-e6ab-4b88-91ce-2cfd38f0cf3b" providerId="AD" clId="Web-{7B9574AD-5E9C-B9BA-B4BA-D3037FFEB9CB}" dt="2025-02-07T14:33:04.767" v="348"/>
        <pc:sldMkLst>
          <pc:docMk/>
          <pc:sldMk cId="2310231329" sldId="363"/>
        </pc:sldMkLst>
        <pc:spChg chg="add">
          <ac:chgData name="Tomas Santiago Bonanno" userId="S::tomas.bonanno@asics.com::6aaceacc-e6ab-4b88-91ce-2cfd38f0cf3b" providerId="AD" clId="Web-{7B9574AD-5E9C-B9BA-B4BA-D3037FFEB9CB}" dt="2025-02-07T14:33:04.767" v="348"/>
          <ac:spMkLst>
            <pc:docMk/>
            <pc:sldMk cId="2310231329" sldId="363"/>
            <ac:spMk id="8" creationId="{14850657-77AD-4A03-86E4-686C9D9B11A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3:04.767" v="348"/>
          <ac:spMkLst>
            <pc:docMk/>
            <pc:sldMk cId="2310231329" sldId="363"/>
            <ac:spMk id="12" creationId="{555BEE1A-DF58-41B2-B7DA-3B7CAE6C6D6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3:04.767" v="348"/>
          <ac:spMkLst>
            <pc:docMk/>
            <pc:sldMk cId="2310231329" sldId="363"/>
            <ac:spMk id="13" creationId="{D898271B-A194-49B5-BF72-1D20011B4DF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3:04.767" v="348"/>
          <ac:spMkLst>
            <pc:docMk/>
            <pc:sldMk cId="2310231329" sldId="363"/>
            <ac:spMk id="14" creationId="{7DAF5C36-43E7-80D8-D071-B7437B9020E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3:04.767" v="348"/>
          <ac:spMkLst>
            <pc:docMk/>
            <pc:sldMk cId="2310231329" sldId="363"/>
            <ac:spMk id="16" creationId="{23B96CFC-E2D7-7FBE-EC02-BB7E70CB9FF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3:04.767" v="348"/>
          <ac:spMkLst>
            <pc:docMk/>
            <pc:sldMk cId="2310231329" sldId="363"/>
            <ac:spMk id="17" creationId="{9E44A7FC-D105-42BF-6865-8540913103B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3:04.767" v="348"/>
          <ac:spMkLst>
            <pc:docMk/>
            <pc:sldMk cId="2310231329" sldId="363"/>
            <ac:spMk id="18" creationId="{E86C97E5-B3FB-F8C9-1333-571D203B783D}"/>
          </ac:spMkLst>
        </pc:spChg>
        <pc:picChg chg="add">
          <ac:chgData name="Tomas Santiago Bonanno" userId="S::tomas.bonanno@asics.com::6aaceacc-e6ab-4b88-91ce-2cfd38f0cf3b" providerId="AD" clId="Web-{7B9574AD-5E9C-B9BA-B4BA-D3037FFEB9CB}" dt="2025-02-07T14:33:04.767" v="348"/>
          <ac:picMkLst>
            <pc:docMk/>
            <pc:sldMk cId="2310231329" sldId="363"/>
            <ac:picMk id="19" creationId="{9D4F5821-094D-D950-7839-F088FB597DDF}"/>
          </ac:picMkLst>
        </pc:picChg>
        <pc:picChg chg="add">
          <ac:chgData name="Tomas Santiago Bonanno" userId="S::tomas.bonanno@asics.com::6aaceacc-e6ab-4b88-91ce-2cfd38f0cf3b" providerId="AD" clId="Web-{7B9574AD-5E9C-B9BA-B4BA-D3037FFEB9CB}" dt="2025-02-07T14:33:04.767" v="348"/>
          <ac:picMkLst>
            <pc:docMk/>
            <pc:sldMk cId="2310231329" sldId="363"/>
            <ac:picMk id="20" creationId="{B22DE9DC-4EC0-9BF7-D311-565B18DA2FC5}"/>
          </ac:picMkLst>
        </pc:picChg>
      </pc:sldChg>
      <pc:sldChg chg="addSp delSp">
        <pc:chgData name="Tomas Santiago Bonanno" userId="S::tomas.bonanno@asics.com::6aaceacc-e6ab-4b88-91ce-2cfd38f0cf3b" providerId="AD" clId="Web-{7B9574AD-5E9C-B9BA-B4BA-D3037FFEB9CB}" dt="2025-02-07T14:30:09.152" v="177"/>
        <pc:sldMkLst>
          <pc:docMk/>
          <pc:sldMk cId="3599572134" sldId="364"/>
        </pc:sldMkLst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13" creationId="{21CAE1D9-0FAC-426E-A03C-EBE24C17492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38" creationId="{1D0B9610-D7F2-4CEB-8387-AB41EA0B3A42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43" creationId="{FA173938-9C87-489F-89EB-A10D66337B2E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49" creationId="{9F5FDA89-A7BE-5A51-92C0-26C6221F88DE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51" creationId="{EAB309E0-0564-DDA4-F2ED-993062584AA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65" creationId="{4EB65E64-40DA-446E-0D12-EF899CF443EE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69" creationId="{AB6155E3-6715-7C8E-4869-4F9155B5EFFE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99" creationId="{29EA236C-2CB1-F535-959A-160E20F202B2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103" creationId="{727BA881-8908-7F73-0458-A4EFAD95A8B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09.152" v="177"/>
          <ac:spMkLst>
            <pc:docMk/>
            <pc:sldMk cId="3599572134" sldId="364"/>
            <ac:spMk id="112" creationId="{913D4474-D236-9762-3626-6C04C0438CAA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30:44.044" v="231"/>
        <pc:sldMkLst>
          <pc:docMk/>
          <pc:sldMk cId="2563951102" sldId="365"/>
        </pc:sldMkLst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14" creationId="{BB29B838-792A-4356-8513-23E2E128548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51" creationId="{8B1ECAF2-5AE4-4997-B766-EDF981E06AC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59" creationId="{26B6D7CF-92ED-42FA-99D6-802C5E0F986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79" creationId="{E5C96C96-5882-9D76-11C1-A8A32266F95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88" creationId="{739AC0A2-5C7B-F6F5-397D-6340DF32290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93" creationId="{D7242244-D03E-A831-2625-E09D80D181B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97" creationId="{64AD6BF5-9418-BDEE-E0D9-7B5E428E12B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100" creationId="{F2E9D469-5DCD-853F-9FF3-77054EDFE9D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121" creationId="{B131A91F-AAAF-F355-A7E1-96F12DD9C41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0:44.044" v="231"/>
          <ac:spMkLst>
            <pc:docMk/>
            <pc:sldMk cId="2563951102" sldId="365"/>
            <ac:spMk id="124" creationId="{C63A964E-C037-7328-C42C-01E3C319D9A0}"/>
          </ac:spMkLst>
        </pc:spChg>
      </pc:sldChg>
      <pc:sldChg chg="addSp delSp modSp">
        <pc:chgData name="Tomas Santiago Bonanno" userId="S::tomas.bonanno@asics.com::6aaceacc-e6ab-4b88-91ce-2cfd38f0cf3b" providerId="AD" clId="Web-{7B9574AD-5E9C-B9BA-B4BA-D3037FFEB9CB}" dt="2025-02-07T14:32:35.610" v="338"/>
        <pc:sldMkLst>
          <pc:docMk/>
          <pc:sldMk cId="2191538284" sldId="366"/>
        </pc:sldMkLst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6" creationId="{BB29B838-792A-4356-8513-23E2E128548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10" creationId="{9383DFC6-43D5-4A72-970E-B73DC3623454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28" creationId="{1E868421-D620-47F1-B4AD-CE21D056F59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29" creationId="{74390731-600A-4A78-B9BD-853190AABF1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37" creationId="{EF942E01-090E-2BDE-983B-59786E649F4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41" creationId="{FE5AE6E7-68DE-1870-BB8B-136E73B0DA3A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43" creationId="{5408D624-9849-3E5E-FA4A-3BD6106AF98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50" creationId="{8769C51A-4CBE-6372-4336-14809E17CFA1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52" creationId="{AD63687F-EB19-ED74-4218-7F1414423B1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2:35.610" v="338"/>
          <ac:spMkLst>
            <pc:docMk/>
            <pc:sldMk cId="2191538284" sldId="366"/>
            <ac:spMk id="53" creationId="{78614840-2C50-6077-58CD-B3130C430220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38:31.309" v="464"/>
        <pc:sldMkLst>
          <pc:docMk/>
          <pc:sldMk cId="755809019" sldId="367"/>
        </pc:sldMkLst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19" creationId="{BB29B838-792A-4356-8513-23E2E128548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26" creationId="{B0C2F219-D088-45CF-94BA-2934A16E153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29" creationId="{781EAABC-06ED-4BA5-834E-5CD2F0106E9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30" creationId="{783876F1-70CF-4348-AAA5-71F822B8EDB2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31" creationId="{115ABAB4-B14F-4B51-9847-B8EF393D1BC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33" creationId="{602B5013-8B14-48C5-9AD0-79F725A66F7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34" creationId="{E6A7DFCC-29AD-47CB-8682-88D3F4F3D024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41" creationId="{6852638A-E73A-D4FE-EFF9-C3C9D9AB4C4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42" creationId="{5F9C0889-9B22-0782-91FF-61B73F2CA3A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8:31.309" v="464"/>
          <ac:spMkLst>
            <pc:docMk/>
            <pc:sldMk cId="755809019" sldId="367"/>
            <ac:spMk id="44" creationId="{2341430A-BCB1-8A2F-8B8A-DF21E70A9BF8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39:18.263" v="510"/>
        <pc:sldMkLst>
          <pc:docMk/>
          <pc:sldMk cId="4187982558" sldId="368"/>
        </pc:sldMkLst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11" creationId="{21CAE1D9-0FAC-426E-A03C-EBE24C17492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18" creationId="{116FC2A2-2462-4C1B-AA5D-7D905CD3BB2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20" creationId="{7D1C9FE6-1A3B-4D1B-9C26-157DAFA52A6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21" creationId="{FE4CA276-998F-4135-8515-03216FA7CF8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22" creationId="{30540E43-A76F-466D-9D11-BBDA1C40608E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23" creationId="{570E4FB5-C74C-435B-B839-92CB846218E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24" creationId="{55793318-4D8F-42BB-8C9B-D7E1009D5EF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26" creationId="{FEA96B6E-9DFF-4D59-BD4F-582B8C5CA425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41" creationId="{DB457FE1-CC29-E8AD-C7CA-4E30F6B56EB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9:18.263" v="510"/>
          <ac:spMkLst>
            <pc:docMk/>
            <pc:sldMk cId="4187982558" sldId="368"/>
            <ac:spMk id="42" creationId="{9CB58477-F839-E65D-9B12-D2C6F2842682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41:03.142" v="582"/>
        <pc:sldMkLst>
          <pc:docMk/>
          <pc:sldMk cId="3973008700" sldId="369"/>
        </pc:sldMkLst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4" creationId="{FAF830DD-CAE6-CB6D-813F-111981DFF23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7" creationId="{D02DA962-A0D9-9240-782B-24BD05BF39B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8" creationId="{1DE91217-D3FD-885E-D015-3E80646EF07F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9" creationId="{30F515AD-EA8E-2BE3-50AA-4C62110CE01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10" creationId="{B2165CE5-67D0-D9F6-9648-6CE25082EE20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12" creationId="{3115C8E0-204A-D692-699F-63D9762E57D9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13" creationId="{5F2F43FA-E059-FB07-3969-068E445FBDD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16" creationId="{6BC17A58-6206-9CB4-9189-9D231F73D0D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19" creationId="{8322D2C5-862F-3B3C-9D95-978052E8CFC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1:03.142" v="582"/>
          <ac:spMkLst>
            <pc:docMk/>
            <pc:sldMk cId="3973008700" sldId="369"/>
            <ac:spMk id="21" creationId="{FD0AE952-0E55-3A85-C9E7-B50229591B6B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42:07.222" v="616"/>
        <pc:sldMkLst>
          <pc:docMk/>
          <pc:sldMk cId="960480539" sldId="372"/>
        </pc:sldMkLst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4" creationId="{3EFEFF1F-C74D-1217-67F7-448704FE46DB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5" creationId="{174CE53E-D987-A874-14D1-F1A5D0ADC7A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7" creationId="{3EE61E91-E3E0-E7E2-E07E-6B797CD37844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13" creationId="{1688FBF7-F802-87B0-0828-5CC5CEB81E0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14" creationId="{6AA23F0D-5231-8413-EC30-E62ED1FD7BDC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15" creationId="{7F018DF8-0A56-6245-8217-12C0D3D3DDF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16" creationId="{779D3FA3-B2D6-B387-807F-D93B793B69E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18" creationId="{822EFA71-4801-E717-1428-C682D85DBDE6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23" creationId="{A05D65F7-2E5D-43EB-E097-2346656AC4AE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42:07.222" v="616"/>
          <ac:spMkLst>
            <pc:docMk/>
            <pc:sldMk cId="960480539" sldId="372"/>
            <ac:spMk id="25" creationId="{4661F3FB-AEF4-0905-BE86-8916F5CEC6FF}"/>
          </ac:spMkLst>
        </pc:spChg>
      </pc:sldChg>
      <pc:sldChg chg="addSp delSp">
        <pc:chgData name="Tomas Santiago Bonanno" userId="S::tomas.bonanno@asics.com::6aaceacc-e6ab-4b88-91ce-2cfd38f0cf3b" providerId="AD" clId="Web-{7B9574AD-5E9C-B9BA-B4BA-D3037FFEB9CB}" dt="2025-02-07T14:31:57.796" v="304"/>
        <pc:sldMkLst>
          <pc:docMk/>
          <pc:sldMk cId="2545693087" sldId="373"/>
        </pc:sldMkLst>
        <pc:spChg chg="add">
          <ac:chgData name="Tomas Santiago Bonanno" userId="S::tomas.bonanno@asics.com::6aaceacc-e6ab-4b88-91ce-2cfd38f0cf3b" providerId="AD" clId="Web-{7B9574AD-5E9C-B9BA-B4BA-D3037FFEB9CB}" dt="2025-02-07T14:31:57.796" v="304"/>
          <ac:spMkLst>
            <pc:docMk/>
            <pc:sldMk cId="2545693087" sldId="373"/>
            <ac:spMk id="35" creationId="{67E266B4-12CB-41FD-BED3-4D6F897F47D1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57.796" v="304"/>
          <ac:spMkLst>
            <pc:docMk/>
            <pc:sldMk cId="2545693087" sldId="373"/>
            <ac:spMk id="51" creationId="{1E868421-D620-47F1-B4AD-CE21D056F597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57.796" v="304"/>
          <ac:spMkLst>
            <pc:docMk/>
            <pc:sldMk cId="2545693087" sldId="373"/>
            <ac:spMk id="52" creationId="{74390731-600A-4A78-B9BD-853190AABF18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57.796" v="304"/>
          <ac:spMkLst>
            <pc:docMk/>
            <pc:sldMk cId="2545693087" sldId="373"/>
            <ac:spMk id="53" creationId="{2AE7772A-0732-4902-8F83-4128E080DB95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57.796" v="304"/>
          <ac:spMkLst>
            <pc:docMk/>
            <pc:sldMk cId="2545693087" sldId="373"/>
            <ac:spMk id="58" creationId="{ED7B7B9F-A656-6921-B36A-0CBB7EFF923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57.796" v="304"/>
          <ac:spMkLst>
            <pc:docMk/>
            <pc:sldMk cId="2545693087" sldId="373"/>
            <ac:spMk id="61" creationId="{2B55E749-12AE-5443-587B-1D79620EC57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57.796" v="304"/>
          <ac:spMkLst>
            <pc:docMk/>
            <pc:sldMk cId="2545693087" sldId="373"/>
            <ac:spMk id="63" creationId="{BDD1715E-88F8-F712-9705-D9FA929EAD93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57.796" v="304"/>
          <ac:spMkLst>
            <pc:docMk/>
            <pc:sldMk cId="2545693087" sldId="373"/>
            <ac:spMk id="65" creationId="{FFBEB2E4-5843-F3D7-A090-D8214BD7A4FD}"/>
          </ac:spMkLst>
        </pc:spChg>
        <pc:spChg chg="add">
          <ac:chgData name="Tomas Santiago Bonanno" userId="S::tomas.bonanno@asics.com::6aaceacc-e6ab-4b88-91ce-2cfd38f0cf3b" providerId="AD" clId="Web-{7B9574AD-5E9C-B9BA-B4BA-D3037FFEB9CB}" dt="2025-02-07T14:31:57.796" v="304"/>
          <ac:spMkLst>
            <pc:docMk/>
            <pc:sldMk cId="2545693087" sldId="373"/>
            <ac:spMk id="66" creationId="{F19B674D-9EA1-7B10-940D-3E0AA0FCE9DF}"/>
          </ac:spMkLst>
        </pc:spChg>
      </pc:sldChg>
      <pc:sldChg chg="add replId">
        <pc:chgData name="Tomas Santiago Bonanno" userId="S::tomas.bonanno@asics.com::6aaceacc-e6ab-4b88-91ce-2cfd38f0cf3b" providerId="AD" clId="Web-{7B9574AD-5E9C-B9BA-B4BA-D3037FFEB9CB}" dt="2025-02-07T14:35:19.771" v="349"/>
        <pc:sldMkLst>
          <pc:docMk/>
          <pc:sldMk cId="66181555" sldId="374"/>
        </pc:sldMkLst>
      </pc:sldChg>
      <pc:sldChg chg="addSp delSp add ord replId">
        <pc:chgData name="Tomas Santiago Bonanno" userId="S::tomas.bonanno@asics.com::6aaceacc-e6ab-4b88-91ce-2cfd38f0cf3b" providerId="AD" clId="Web-{7B9574AD-5E9C-B9BA-B4BA-D3037FFEB9CB}" dt="2025-02-07T14:36:04.257" v="368"/>
        <pc:sldMkLst>
          <pc:docMk/>
          <pc:sldMk cId="2901304641" sldId="375"/>
        </pc:sldMkLst>
      </pc:sldChg>
    </pc:docChg>
  </pc:docChgLst>
  <pc:docChgLst>
    <pc:chgData name="Lovisa Cesar" userId="be69fa00-0ba0-4981-ac00-2baf8173a053" providerId="ADAL" clId="{370DB140-41D2-4D88-97E2-1F9AC1F85C1E}"/>
    <pc:docChg chg="undo custSel modSld">
      <pc:chgData name="Lovisa Cesar" userId="be69fa00-0ba0-4981-ac00-2baf8173a053" providerId="ADAL" clId="{370DB140-41D2-4D88-97E2-1F9AC1F85C1E}" dt="2025-01-14T10:23:10.902" v="3" actId="14100"/>
      <pc:docMkLst>
        <pc:docMk/>
      </pc:docMkLst>
      <pc:sldChg chg="modSp mod">
        <pc:chgData name="Lovisa Cesar" userId="be69fa00-0ba0-4981-ac00-2baf8173a053" providerId="ADAL" clId="{370DB140-41D2-4D88-97E2-1F9AC1F85C1E}" dt="2025-01-14T10:23:10.902" v="3" actId="14100"/>
        <pc:sldMkLst>
          <pc:docMk/>
          <pc:sldMk cId="2545693087" sldId="373"/>
        </pc:sldMkLst>
      </pc:sldChg>
    </pc:docChg>
  </pc:docChgLst>
  <pc:docChgLst>
    <pc:chgData name="Renate Fesel" userId="da404ac4-5f76-46fb-b623-2c807d6102b2" providerId="ADAL" clId="{A52F4FC2-3E71-40B3-BB85-9ACF7B24DE56}"/>
    <pc:docChg chg="sldOrd">
      <pc:chgData name="Renate Fesel" userId="da404ac4-5f76-46fb-b623-2c807d6102b2" providerId="ADAL" clId="{A52F4FC2-3E71-40B3-BB85-9ACF7B24DE56}" dt="2024-11-19T13:18:49.209" v="0" actId="20578"/>
      <pc:docMkLst>
        <pc:docMk/>
      </pc:docMkLst>
      <pc:sldChg chg="ord">
        <pc:chgData name="Renate Fesel" userId="da404ac4-5f76-46fb-b623-2c807d6102b2" providerId="ADAL" clId="{A52F4FC2-3E71-40B3-BB85-9ACF7B24DE56}" dt="2024-11-19T13:18:49.209" v="0" actId="20578"/>
        <pc:sldMkLst>
          <pc:docMk/>
          <pc:sldMk cId="1370533848" sldId="332"/>
        </pc:sldMkLst>
      </pc:sldChg>
    </pc:docChg>
  </pc:docChgLst>
  <pc:docChgLst>
    <pc:chgData name="Tomas Santiago Bonanno" userId="6aaceacc-e6ab-4b88-91ce-2cfd38f0cf3b" providerId="ADAL" clId="{816D0B24-CAEE-4534-8369-3F36FE1FCF57}"/>
    <pc:docChg chg="undo custSel modSld">
      <pc:chgData name="Tomas Santiago Bonanno" userId="6aaceacc-e6ab-4b88-91ce-2cfd38f0cf3b" providerId="ADAL" clId="{816D0B24-CAEE-4534-8369-3F36FE1FCF57}" dt="2024-11-21T08:56:34.853" v="300" actId="14100"/>
      <pc:docMkLst>
        <pc:docMk/>
      </pc:docMkLst>
      <pc:sldChg chg="modSp mod">
        <pc:chgData name="Tomas Santiago Bonanno" userId="6aaceacc-e6ab-4b88-91ce-2cfd38f0cf3b" providerId="ADAL" clId="{816D0B24-CAEE-4534-8369-3F36FE1FCF57}" dt="2024-11-19T10:46:32.396" v="6" actId="14100"/>
        <pc:sldMkLst>
          <pc:docMk/>
          <pc:sldMk cId="2440748235" sldId="259"/>
        </pc:sldMkLst>
      </pc:sldChg>
      <pc:sldChg chg="modSp mod">
        <pc:chgData name="Tomas Santiago Bonanno" userId="6aaceacc-e6ab-4b88-91ce-2cfd38f0cf3b" providerId="ADAL" clId="{816D0B24-CAEE-4534-8369-3F36FE1FCF57}" dt="2024-11-19T11:06:50.469" v="11" actId="20577"/>
        <pc:sldMkLst>
          <pc:docMk/>
          <pc:sldMk cId="1671708563" sldId="322"/>
        </pc:sldMkLst>
      </pc:sldChg>
      <pc:sldChg chg="addSp delSp modSp mod">
        <pc:chgData name="Tomas Santiago Bonanno" userId="6aaceacc-e6ab-4b88-91ce-2cfd38f0cf3b" providerId="ADAL" clId="{816D0B24-CAEE-4534-8369-3F36FE1FCF57}" dt="2024-11-19T11:57:54.593" v="265" actId="14100"/>
        <pc:sldMkLst>
          <pc:docMk/>
          <pc:sldMk cId="1370533848" sldId="332"/>
        </pc:sldMkLst>
      </pc:sldChg>
      <pc:sldChg chg="modSp mod">
        <pc:chgData name="Tomas Santiago Bonanno" userId="6aaceacc-e6ab-4b88-91ce-2cfd38f0cf3b" providerId="ADAL" clId="{816D0B24-CAEE-4534-8369-3F36FE1FCF57}" dt="2024-11-21T08:50:15.988" v="290" actId="14100"/>
        <pc:sldMkLst>
          <pc:docMk/>
          <pc:sldMk cId="3651036424" sldId="340"/>
        </pc:sldMkLst>
      </pc:sldChg>
      <pc:sldChg chg="addSp delSp modSp mod">
        <pc:chgData name="Tomas Santiago Bonanno" userId="6aaceacc-e6ab-4b88-91ce-2cfd38f0cf3b" providerId="ADAL" clId="{816D0B24-CAEE-4534-8369-3F36FE1FCF57}" dt="2024-11-21T08:54:41.451" v="298"/>
        <pc:sldMkLst>
          <pc:docMk/>
          <pc:sldMk cId="1693682408" sldId="350"/>
        </pc:sldMkLst>
      </pc:sldChg>
      <pc:sldChg chg="addSp delSp modSp mod">
        <pc:chgData name="Tomas Santiago Bonanno" userId="6aaceacc-e6ab-4b88-91ce-2cfd38f0cf3b" providerId="ADAL" clId="{816D0B24-CAEE-4534-8369-3F36FE1FCF57}" dt="2024-11-19T11:08:41.895" v="33" actId="20577"/>
        <pc:sldMkLst>
          <pc:docMk/>
          <pc:sldMk cId="238564029" sldId="359"/>
        </pc:sldMkLst>
      </pc:sldChg>
      <pc:sldChg chg="addSp delSp modSp mod">
        <pc:chgData name="Tomas Santiago Bonanno" userId="6aaceacc-e6ab-4b88-91ce-2cfd38f0cf3b" providerId="ADAL" clId="{816D0B24-CAEE-4534-8369-3F36FE1FCF57}" dt="2024-11-19T13:49:39.681" v="275" actId="14100"/>
        <pc:sldMkLst>
          <pc:docMk/>
          <pc:sldMk cId="2743797092" sldId="360"/>
        </pc:sldMkLst>
      </pc:sldChg>
      <pc:sldChg chg="addSp modSp mod">
        <pc:chgData name="Tomas Santiago Bonanno" userId="6aaceacc-e6ab-4b88-91ce-2cfd38f0cf3b" providerId="ADAL" clId="{816D0B24-CAEE-4534-8369-3F36FE1FCF57}" dt="2024-11-19T11:12:35.409" v="56" actId="20577"/>
        <pc:sldMkLst>
          <pc:docMk/>
          <pc:sldMk cId="3599572134" sldId="364"/>
        </pc:sldMkLst>
      </pc:sldChg>
      <pc:sldChg chg="modSp mod">
        <pc:chgData name="Tomas Santiago Bonanno" userId="6aaceacc-e6ab-4b88-91ce-2cfd38f0cf3b" providerId="ADAL" clId="{816D0B24-CAEE-4534-8369-3F36FE1FCF57}" dt="2024-11-19T11:14:31.325" v="57" actId="14100"/>
        <pc:sldMkLst>
          <pc:docMk/>
          <pc:sldMk cId="2563951102" sldId="365"/>
        </pc:sldMkLst>
      </pc:sldChg>
      <pc:sldChg chg="modSp mod">
        <pc:chgData name="Tomas Santiago Bonanno" userId="6aaceacc-e6ab-4b88-91ce-2cfd38f0cf3b" providerId="ADAL" clId="{816D0B24-CAEE-4534-8369-3F36FE1FCF57}" dt="2024-11-21T08:49:46.365" v="289" actId="14100"/>
        <pc:sldMkLst>
          <pc:docMk/>
          <pc:sldMk cId="2191538284" sldId="366"/>
        </pc:sldMkLst>
      </pc:sldChg>
      <pc:sldChg chg="modSp mod">
        <pc:chgData name="Tomas Santiago Bonanno" userId="6aaceacc-e6ab-4b88-91ce-2cfd38f0cf3b" providerId="ADAL" clId="{816D0B24-CAEE-4534-8369-3F36FE1FCF57}" dt="2024-11-19T11:50:02.754" v="257" actId="20577"/>
        <pc:sldMkLst>
          <pc:docMk/>
          <pc:sldMk cId="4187982558" sldId="368"/>
        </pc:sldMkLst>
      </pc:sldChg>
      <pc:sldChg chg="addSp delSp modSp mod">
        <pc:chgData name="Tomas Santiago Bonanno" userId="6aaceacc-e6ab-4b88-91ce-2cfd38f0cf3b" providerId="ADAL" clId="{816D0B24-CAEE-4534-8369-3F36FE1FCF57}" dt="2024-11-21T08:54:22.722" v="296" actId="1076"/>
        <pc:sldMkLst>
          <pc:docMk/>
          <pc:sldMk cId="3973008700" sldId="369"/>
        </pc:sldMkLst>
      </pc:sldChg>
      <pc:sldChg chg="addSp delSp modSp mod">
        <pc:chgData name="Tomas Santiago Bonanno" userId="6aaceacc-e6ab-4b88-91ce-2cfd38f0cf3b" providerId="ADAL" clId="{816D0B24-CAEE-4534-8369-3F36FE1FCF57}" dt="2024-11-21T08:56:34.853" v="300" actId="14100"/>
        <pc:sldMkLst>
          <pc:docMk/>
          <pc:sldMk cId="960480539" sldId="372"/>
        </pc:sldMkLst>
      </pc:sldChg>
      <pc:sldChg chg="addSp modSp mod">
        <pc:chgData name="Tomas Santiago Bonanno" userId="6aaceacc-e6ab-4b88-91ce-2cfd38f0cf3b" providerId="ADAL" clId="{816D0B24-CAEE-4534-8369-3F36FE1FCF57}" dt="2024-11-21T08:48:48.082" v="286" actId="14100"/>
        <pc:sldMkLst>
          <pc:docMk/>
          <pc:sldMk cId="2545693087" sldId="373"/>
        </pc:sldMkLst>
      </pc:sldChg>
    </pc:docChg>
  </pc:docChgLst>
  <pc:docChgLst>
    <pc:chgData name="Inês Sequeira Lopes" userId="a589797c-0700-4e8a-aa8d-24c8a6f93c67" providerId="ADAL" clId="{32D513AC-08E2-4525-B60E-C69447B41058}"/>
    <pc:docChg chg="undo modSld">
      <pc:chgData name="Inês Sequeira Lopes" userId="a589797c-0700-4e8a-aa8d-24c8a6f93c67" providerId="ADAL" clId="{32D513AC-08E2-4525-B60E-C69447B41058}" dt="2025-02-20T14:05:51.938" v="1" actId="14100"/>
      <pc:docMkLst>
        <pc:docMk/>
      </pc:docMkLst>
      <pc:sldChg chg="modSp mod">
        <pc:chgData name="Inês Sequeira Lopes" userId="a589797c-0700-4e8a-aa8d-24c8a6f93c67" providerId="ADAL" clId="{32D513AC-08E2-4525-B60E-C69447B41058}" dt="2025-02-20T14:05:51.938" v="1" actId="14100"/>
        <pc:sldMkLst>
          <pc:docMk/>
          <pc:sldMk cId="960480539" sldId="372"/>
        </pc:sldMkLst>
        <pc:picChg chg="mod">
          <ac:chgData name="Inês Sequeira Lopes" userId="a589797c-0700-4e8a-aa8d-24c8a6f93c67" providerId="ADAL" clId="{32D513AC-08E2-4525-B60E-C69447B41058}" dt="2025-02-20T14:05:51.938" v="1" actId="14100"/>
          <ac:picMkLst>
            <pc:docMk/>
            <pc:sldMk cId="960480539" sldId="372"/>
            <ac:picMk id="28" creationId="{88506CA5-A85F-8274-AB0C-76596D5CFC6A}"/>
          </ac:picMkLst>
        </pc:picChg>
      </pc:sldChg>
    </pc:docChg>
  </pc:docChgLst>
  <pc:docChgLst>
    <pc:chgData name="Tomas Santiago Bonanno" userId="S::tomas.bonanno@asics.com::6aaceacc-e6ab-4b88-91ce-2cfd38f0cf3b" providerId="AD" clId="Web-{91686FC1-530E-3D75-3AB6-AE323E259F6C}"/>
    <pc:docChg chg="modSld">
      <pc:chgData name="Tomas Santiago Bonanno" userId="S::tomas.bonanno@asics.com::6aaceacc-e6ab-4b88-91ce-2cfd38f0cf3b" providerId="AD" clId="Web-{91686FC1-530E-3D75-3AB6-AE323E259F6C}" dt="2025-02-04T10:10:56.958" v="15" actId="1076"/>
      <pc:docMkLst>
        <pc:docMk/>
      </pc:docMkLst>
      <pc:sldChg chg="addSp modSp">
        <pc:chgData name="Tomas Santiago Bonanno" userId="S::tomas.bonanno@asics.com::6aaceacc-e6ab-4b88-91ce-2cfd38f0cf3b" providerId="AD" clId="Web-{91686FC1-530E-3D75-3AB6-AE323E259F6C}" dt="2025-02-04T10:10:56.958" v="15" actId="1076"/>
        <pc:sldMkLst>
          <pc:docMk/>
          <pc:sldMk cId="2440748235" sldId="259"/>
        </pc:sldMkLst>
      </pc:sldChg>
    </pc:docChg>
  </pc:docChgLst>
  <pc:docChgLst>
    <pc:chgData name="Tomas Santiago Bonanno" userId="S::tomas.bonanno@asics.com::6aaceacc-e6ab-4b88-91ce-2cfd38f0cf3b" providerId="AD" clId="Web-{926F7088-175A-D05C-356D-84A8BAF415DE}"/>
    <pc:docChg chg="addSld delSld modSld">
      <pc:chgData name="Tomas Santiago Bonanno" userId="S::tomas.bonanno@asics.com::6aaceacc-e6ab-4b88-91ce-2cfd38f0cf3b" providerId="AD" clId="Web-{926F7088-175A-D05C-356D-84A8BAF415DE}" dt="2025-01-28T17:38:09.469" v="782" actId="20577"/>
      <pc:docMkLst>
        <pc:docMk/>
      </pc:docMkLst>
      <pc:sldChg chg="addSp delSp modSp">
        <pc:chgData name="Tomas Santiago Bonanno" userId="S::tomas.bonanno@asics.com::6aaceacc-e6ab-4b88-91ce-2cfd38f0cf3b" providerId="AD" clId="Web-{926F7088-175A-D05C-356D-84A8BAF415DE}" dt="2025-01-28T17:36:43.482" v="749" actId="20577"/>
        <pc:sldMkLst>
          <pc:docMk/>
          <pc:sldMk cId="2440748235" sldId="259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7:37:39.171" v="773" actId="20577"/>
        <pc:sldMkLst>
          <pc:docMk/>
          <pc:sldMk cId="1370533848" sldId="332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5:35:11.975" v="434" actId="1076"/>
        <pc:sldMkLst>
          <pc:docMk/>
          <pc:sldMk cId="3002347597" sldId="335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6:18:00.549" v="577" actId="1076"/>
        <pc:sldMkLst>
          <pc:docMk/>
          <pc:sldMk cId="3651036424" sldId="340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6:38:56.304" v="653" actId="1076"/>
        <pc:sldMkLst>
          <pc:docMk/>
          <pc:sldMk cId="518256622" sldId="342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6:26:49.596" v="605" actId="1076"/>
        <pc:sldMkLst>
          <pc:docMk/>
          <pc:sldMk cId="1868421829" sldId="343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6:33:46.764" v="629" actId="14100"/>
        <pc:sldMkLst>
          <pc:docMk/>
          <pc:sldMk cId="1089569201" sldId="345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7:29:37.392" v="742" actId="1076"/>
        <pc:sldMkLst>
          <pc:docMk/>
          <pc:sldMk cId="3097981172" sldId="346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6:59:20.965" v="711" actId="14100"/>
        <pc:sldMkLst>
          <pc:docMk/>
          <pc:sldMk cId="3513931044" sldId="348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7:37:29.687" v="768" actId="20577"/>
        <pc:sldMkLst>
          <pc:docMk/>
          <pc:sldMk cId="238564029" sldId="359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6:01:37.630" v="548" actId="1076"/>
        <pc:sldMkLst>
          <pc:docMk/>
          <pc:sldMk cId="2310231329" sldId="363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5:03:53.451" v="324" actId="1076"/>
        <pc:sldMkLst>
          <pc:docMk/>
          <pc:sldMk cId="3599572134" sldId="364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7:38:09.469" v="782" actId="20577"/>
        <pc:sldMkLst>
          <pc:docMk/>
          <pc:sldMk cId="2563951102" sldId="365"/>
        </pc:sldMkLst>
      </pc:sldChg>
      <pc:sldChg chg="addSp delSp modSp mod modClrScheme chgLayout">
        <pc:chgData name="Tomas Santiago Bonanno" userId="S::tomas.bonanno@asics.com::6aaceacc-e6ab-4b88-91ce-2cfd38f0cf3b" providerId="AD" clId="Web-{926F7088-175A-D05C-356D-84A8BAF415DE}" dt="2025-01-28T15:58:41.250" v="540" actId="1076"/>
        <pc:sldMkLst>
          <pc:docMk/>
          <pc:sldMk cId="2191538284" sldId="366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6:42:21.794" v="674" actId="14100"/>
        <pc:sldMkLst>
          <pc:docMk/>
          <pc:sldMk cId="755809019" sldId="367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6:56:13.975" v="697" actId="14100"/>
        <pc:sldMkLst>
          <pc:docMk/>
          <pc:sldMk cId="4187982558" sldId="368"/>
        </pc:sldMkLst>
      </pc:sldChg>
      <pc:sldChg chg="addSp delSp modSp">
        <pc:chgData name="Tomas Santiago Bonanno" userId="S::tomas.bonanno@asics.com::6aaceacc-e6ab-4b88-91ce-2cfd38f0cf3b" providerId="AD" clId="Web-{926F7088-175A-D05C-356D-84A8BAF415DE}" dt="2025-01-28T15:48:24.232" v="491" actId="1076"/>
        <pc:sldMkLst>
          <pc:docMk/>
          <pc:sldMk cId="2545693087" sldId="373"/>
        </pc:sldMkLst>
      </pc:sldChg>
      <pc:sldChg chg="add del replId">
        <pc:chgData name="Tomas Santiago Bonanno" userId="S::tomas.bonanno@asics.com::6aaceacc-e6ab-4b88-91ce-2cfd38f0cf3b" providerId="AD" clId="Web-{926F7088-175A-D05C-356D-84A8BAF415DE}" dt="2025-01-28T13:19:01.503" v="26"/>
        <pc:sldMkLst>
          <pc:docMk/>
          <pc:sldMk cId="4166141534" sldId="374"/>
        </pc:sldMkLst>
      </pc:sldChg>
    </pc:docChg>
  </pc:docChgLst>
  <pc:docChgLst>
    <pc:chgData name="Audrey Lévêque" userId="cace5139-de4b-43e8-9660-04ca5b485e8d" providerId="ADAL" clId="{68262E9C-B580-46E5-AAEE-26997DD9F646}"/>
    <pc:docChg chg="undo redo custSel delSld modSld">
      <pc:chgData name="Audrey Lévêque" userId="cace5139-de4b-43e8-9660-04ca5b485e8d" providerId="ADAL" clId="{68262E9C-B580-46E5-AAEE-26997DD9F646}" dt="2024-11-15T15:47:52.299" v="858"/>
      <pc:docMkLst>
        <pc:docMk/>
      </pc:docMkLst>
      <pc:sldChg chg="addSp modSp mod">
        <pc:chgData name="Audrey Lévêque" userId="cace5139-de4b-43e8-9660-04ca5b485e8d" providerId="ADAL" clId="{68262E9C-B580-46E5-AAEE-26997DD9F646}" dt="2024-11-15T10:40:35.243" v="123" actId="1076"/>
        <pc:sldMkLst>
          <pc:docMk/>
          <pc:sldMk cId="2440748235" sldId="259"/>
        </pc:sldMkLst>
      </pc:sldChg>
      <pc:sldChg chg="addSp modSp">
        <pc:chgData name="Audrey Lévêque" userId="cace5139-de4b-43e8-9660-04ca5b485e8d" providerId="ADAL" clId="{68262E9C-B580-46E5-AAEE-26997DD9F646}" dt="2024-11-15T10:40:39.847" v="125"/>
        <pc:sldMkLst>
          <pc:docMk/>
          <pc:sldMk cId="1671708563" sldId="322"/>
        </pc:sldMkLst>
      </pc:sldChg>
      <pc:sldChg chg="addSp delSp modSp mod">
        <pc:chgData name="Audrey Lévêque" userId="cace5139-de4b-43e8-9660-04ca5b485e8d" providerId="ADAL" clId="{68262E9C-B580-46E5-AAEE-26997DD9F646}" dt="2024-11-15T15:24:22.515" v="725" actId="14100"/>
        <pc:sldMkLst>
          <pc:docMk/>
          <pc:sldMk cId="1370533848" sldId="332"/>
        </pc:sldMkLst>
      </pc:sldChg>
      <pc:sldChg chg="addSp delSp modSp mod">
        <pc:chgData name="Audrey Lévêque" userId="cace5139-de4b-43e8-9660-04ca5b485e8d" providerId="ADAL" clId="{68262E9C-B580-46E5-AAEE-26997DD9F646}" dt="2024-11-15T15:32:23.600" v="746" actId="1076"/>
        <pc:sldMkLst>
          <pc:docMk/>
          <pc:sldMk cId="3002347597" sldId="335"/>
        </pc:sldMkLst>
      </pc:sldChg>
      <pc:sldChg chg="addSp modSp">
        <pc:chgData name="Audrey Lévêque" userId="cace5139-de4b-43e8-9660-04ca5b485e8d" providerId="ADAL" clId="{68262E9C-B580-46E5-AAEE-26997DD9F646}" dt="2024-11-15T10:40:38.358" v="124"/>
        <pc:sldMkLst>
          <pc:docMk/>
          <pc:sldMk cId="3635073318" sldId="336"/>
        </pc:sldMkLst>
      </pc:sldChg>
      <pc:sldChg chg="addSp delSp modSp mod">
        <pc:chgData name="Audrey Lévêque" userId="cace5139-de4b-43e8-9660-04ca5b485e8d" providerId="ADAL" clId="{68262E9C-B580-46E5-AAEE-26997DD9F646}" dt="2024-11-15T14:47:55.254" v="651" actId="1076"/>
        <pc:sldMkLst>
          <pc:docMk/>
          <pc:sldMk cId="3651036424" sldId="340"/>
        </pc:sldMkLst>
      </pc:sldChg>
      <pc:sldChg chg="addSp modSp">
        <pc:chgData name="Audrey Lévêque" userId="cace5139-de4b-43e8-9660-04ca5b485e8d" providerId="ADAL" clId="{68262E9C-B580-46E5-AAEE-26997DD9F646}" dt="2024-11-15T10:40:59.978" v="137"/>
        <pc:sldMkLst>
          <pc:docMk/>
          <pc:sldMk cId="764537313" sldId="341"/>
        </pc:sldMkLst>
      </pc:sldChg>
      <pc:sldChg chg="addSp delSp modSp mod">
        <pc:chgData name="Audrey Lévêque" userId="cace5139-de4b-43e8-9660-04ca5b485e8d" providerId="ADAL" clId="{68262E9C-B580-46E5-AAEE-26997DD9F646}" dt="2024-11-15T10:56:58.023" v="284" actId="20577"/>
        <pc:sldMkLst>
          <pc:docMk/>
          <pc:sldMk cId="518256622" sldId="342"/>
        </pc:sldMkLst>
      </pc:sldChg>
      <pc:sldChg chg="addSp delSp modSp mod">
        <pc:chgData name="Audrey Lévêque" userId="cace5139-de4b-43e8-9660-04ca5b485e8d" providerId="ADAL" clId="{68262E9C-B580-46E5-AAEE-26997DD9F646}" dt="2024-11-15T14:48:07.379" v="653" actId="20577"/>
        <pc:sldMkLst>
          <pc:docMk/>
          <pc:sldMk cId="1868421829" sldId="343"/>
        </pc:sldMkLst>
      </pc:sldChg>
      <pc:sldChg chg="addSp delSp modSp mod">
        <pc:chgData name="Audrey Lévêque" userId="cace5139-de4b-43e8-9660-04ca5b485e8d" providerId="ADAL" clId="{68262E9C-B580-46E5-AAEE-26997DD9F646}" dt="2024-11-15T14:48:31.607" v="657" actId="1076"/>
        <pc:sldMkLst>
          <pc:docMk/>
          <pc:sldMk cId="1089569201" sldId="345"/>
        </pc:sldMkLst>
      </pc:sldChg>
      <pc:sldChg chg="addSp delSp modSp mod">
        <pc:chgData name="Audrey Lévêque" userId="cace5139-de4b-43e8-9660-04ca5b485e8d" providerId="ADAL" clId="{68262E9C-B580-46E5-AAEE-26997DD9F646}" dt="2024-11-15T14:48:55.914" v="662" actId="1076"/>
        <pc:sldMkLst>
          <pc:docMk/>
          <pc:sldMk cId="3097981172" sldId="346"/>
        </pc:sldMkLst>
      </pc:sldChg>
      <pc:sldChg chg="addSp delSp modSp mod">
        <pc:chgData name="Audrey Lévêque" userId="cace5139-de4b-43e8-9660-04ca5b485e8d" providerId="ADAL" clId="{68262E9C-B580-46E5-AAEE-26997DD9F646}" dt="2024-11-15T14:48:48.166" v="659" actId="1076"/>
        <pc:sldMkLst>
          <pc:docMk/>
          <pc:sldMk cId="3513931044" sldId="348"/>
        </pc:sldMkLst>
      </pc:sldChg>
      <pc:sldChg chg="addSp modSp mod">
        <pc:chgData name="Audrey Lévêque" userId="cace5139-de4b-43e8-9660-04ca5b485e8d" providerId="ADAL" clId="{68262E9C-B580-46E5-AAEE-26997DD9F646}" dt="2024-11-15T15:46:12.524" v="852" actId="1076"/>
        <pc:sldMkLst>
          <pc:docMk/>
          <pc:sldMk cId="1693682408" sldId="350"/>
        </pc:sldMkLst>
      </pc:sldChg>
      <pc:sldChg chg="addSp modSp">
        <pc:chgData name="Audrey Lévêque" userId="cace5139-de4b-43e8-9660-04ca5b485e8d" providerId="ADAL" clId="{68262E9C-B580-46E5-AAEE-26997DD9F646}" dt="2024-11-15T10:41:12.804" v="145"/>
        <pc:sldMkLst>
          <pc:docMk/>
          <pc:sldMk cId="1075464728" sldId="352"/>
        </pc:sldMkLst>
      </pc:sldChg>
      <pc:sldChg chg="addSp modSp">
        <pc:chgData name="Audrey Lévêque" userId="cace5139-de4b-43e8-9660-04ca5b485e8d" providerId="ADAL" clId="{68262E9C-B580-46E5-AAEE-26997DD9F646}" dt="2024-11-15T10:41:15.942" v="147"/>
        <pc:sldMkLst>
          <pc:docMk/>
          <pc:sldMk cId="2998136033" sldId="354"/>
        </pc:sldMkLst>
      </pc:sldChg>
      <pc:sldChg chg="addSp modSp">
        <pc:chgData name="Audrey Lévêque" userId="cace5139-de4b-43e8-9660-04ca5b485e8d" providerId="ADAL" clId="{68262E9C-B580-46E5-AAEE-26997DD9F646}" dt="2024-11-15T10:40:53.700" v="133"/>
        <pc:sldMkLst>
          <pc:docMk/>
          <pc:sldMk cId="2362062159" sldId="357"/>
        </pc:sldMkLst>
      </pc:sldChg>
      <pc:sldChg chg="addSp delSp modSp mod">
        <pc:chgData name="Audrey Lévêque" userId="cace5139-de4b-43e8-9660-04ca5b485e8d" providerId="ADAL" clId="{68262E9C-B580-46E5-AAEE-26997DD9F646}" dt="2024-11-15T15:24:46.131" v="728" actId="1076"/>
        <pc:sldMkLst>
          <pc:docMk/>
          <pc:sldMk cId="238564029" sldId="359"/>
        </pc:sldMkLst>
      </pc:sldChg>
      <pc:sldChg chg="addSp modSp mod">
        <pc:chgData name="Audrey Lévêque" userId="cace5139-de4b-43e8-9660-04ca5b485e8d" providerId="ADAL" clId="{68262E9C-B580-46E5-AAEE-26997DD9F646}" dt="2024-11-15T15:46:07.342" v="850" actId="1076"/>
        <pc:sldMkLst>
          <pc:docMk/>
          <pc:sldMk cId="2743797092" sldId="360"/>
        </pc:sldMkLst>
      </pc:sldChg>
      <pc:sldChg chg="addSp modSp del">
        <pc:chgData name="Audrey Lévêque" userId="cace5139-de4b-43e8-9660-04ca5b485e8d" providerId="ADAL" clId="{68262E9C-B580-46E5-AAEE-26997DD9F646}" dt="2024-11-15T15:37:18.747" v="795" actId="47"/>
        <pc:sldMkLst>
          <pc:docMk/>
          <pc:sldMk cId="3326286934" sldId="361"/>
        </pc:sldMkLst>
      </pc:sldChg>
      <pc:sldChg chg="addSp modSp mod">
        <pc:chgData name="Audrey Lévêque" userId="cace5139-de4b-43e8-9660-04ca5b485e8d" providerId="ADAL" clId="{68262E9C-B580-46E5-AAEE-26997DD9F646}" dt="2024-11-15T15:44:03.872" v="846" actId="1076"/>
        <pc:sldMkLst>
          <pc:docMk/>
          <pc:sldMk cId="2310231329" sldId="363"/>
        </pc:sldMkLst>
      </pc:sldChg>
      <pc:sldChg chg="addSp modSp mod">
        <pc:chgData name="Audrey Lévêque" userId="cace5139-de4b-43e8-9660-04ca5b485e8d" providerId="ADAL" clId="{68262E9C-B580-46E5-AAEE-26997DD9F646}" dt="2024-11-15T15:25:56.804" v="730" actId="1076"/>
        <pc:sldMkLst>
          <pc:docMk/>
          <pc:sldMk cId="3599572134" sldId="364"/>
        </pc:sldMkLst>
      </pc:sldChg>
      <pc:sldChg chg="addSp modSp mod">
        <pc:chgData name="Audrey Lévêque" userId="cace5139-de4b-43e8-9660-04ca5b485e8d" providerId="ADAL" clId="{68262E9C-B580-46E5-AAEE-26997DD9F646}" dt="2024-11-15T15:47:52.299" v="858"/>
        <pc:sldMkLst>
          <pc:docMk/>
          <pc:sldMk cId="2563951102" sldId="365"/>
        </pc:sldMkLst>
      </pc:sldChg>
      <pc:sldChg chg="addSp modSp mod">
        <pc:chgData name="Audrey Lévêque" userId="cace5139-de4b-43e8-9660-04ca5b485e8d" providerId="ADAL" clId="{68262E9C-B580-46E5-AAEE-26997DD9F646}" dt="2024-11-15T15:42:16.140" v="838" actId="1076"/>
        <pc:sldMkLst>
          <pc:docMk/>
          <pc:sldMk cId="2191538284" sldId="366"/>
        </pc:sldMkLst>
      </pc:sldChg>
      <pc:sldChg chg="addSp delSp modSp mod">
        <pc:chgData name="Audrey Lévêque" userId="cace5139-de4b-43e8-9660-04ca5b485e8d" providerId="ADAL" clId="{68262E9C-B580-46E5-AAEE-26997DD9F646}" dt="2024-11-15T11:23:31.280" v="441"/>
        <pc:sldMkLst>
          <pc:docMk/>
          <pc:sldMk cId="755809019" sldId="367"/>
        </pc:sldMkLst>
      </pc:sldChg>
      <pc:sldChg chg="addSp delSp modSp mod">
        <pc:chgData name="Audrey Lévêque" userId="cace5139-de4b-43e8-9660-04ca5b485e8d" providerId="ADAL" clId="{68262E9C-B580-46E5-AAEE-26997DD9F646}" dt="2024-11-15T11:30:53.895" v="564"/>
        <pc:sldMkLst>
          <pc:docMk/>
          <pc:sldMk cId="4187982558" sldId="368"/>
        </pc:sldMkLst>
      </pc:sldChg>
      <pc:sldChg chg="addSp modSp">
        <pc:chgData name="Audrey Lévêque" userId="cace5139-de4b-43e8-9660-04ca5b485e8d" providerId="ADAL" clId="{68262E9C-B580-46E5-AAEE-26997DD9F646}" dt="2024-11-15T14:49:33.701" v="712"/>
        <pc:sldMkLst>
          <pc:docMk/>
          <pc:sldMk cId="3973008700" sldId="369"/>
        </pc:sldMkLst>
      </pc:sldChg>
      <pc:sldChg chg="addSp modSp">
        <pc:chgData name="Audrey Lévêque" userId="cace5139-de4b-43e8-9660-04ca5b485e8d" providerId="ADAL" clId="{68262E9C-B580-46E5-AAEE-26997DD9F646}" dt="2024-11-15T10:41:20.568" v="151"/>
        <pc:sldMkLst>
          <pc:docMk/>
          <pc:sldMk cId="2791060265" sldId="371"/>
        </pc:sldMkLst>
      </pc:sldChg>
      <pc:sldChg chg="addSp modSp">
        <pc:chgData name="Audrey Lévêque" userId="cace5139-de4b-43e8-9660-04ca5b485e8d" providerId="ADAL" clId="{68262E9C-B580-46E5-AAEE-26997DD9F646}" dt="2024-11-15T14:49:40.352" v="714"/>
        <pc:sldMkLst>
          <pc:docMk/>
          <pc:sldMk cId="960480539" sldId="372"/>
        </pc:sldMkLst>
      </pc:sldChg>
      <pc:sldChg chg="addSp delSp modSp mod">
        <pc:chgData name="Audrey Lévêque" userId="cace5139-de4b-43e8-9660-04ca5b485e8d" providerId="ADAL" clId="{68262E9C-B580-46E5-AAEE-26997DD9F646}" dt="2024-11-15T15:37:05.487" v="794" actId="20577"/>
        <pc:sldMkLst>
          <pc:docMk/>
          <pc:sldMk cId="2545693087" sldId="373"/>
        </pc:sldMkLst>
      </pc:sldChg>
    </pc:docChg>
  </pc:docChgLst>
  <pc:docChgLst>
    <pc:chgData name="Stefan Severing" userId="e87137f8-9beb-4a79-baf9-8658a8205ecd" providerId="ADAL" clId="{0277F1B5-5E79-4F60-84AD-0CD79CA2AE97}"/>
    <pc:docChg chg="sldOrd">
      <pc:chgData name="Stefan Severing" userId="e87137f8-9beb-4a79-baf9-8658a8205ecd" providerId="ADAL" clId="{0277F1B5-5E79-4F60-84AD-0CD79CA2AE97}" dt="2025-02-17T10:40:23.579" v="0" actId="20578"/>
      <pc:docMkLst>
        <pc:docMk/>
      </pc:docMkLst>
      <pc:sldChg chg="ord">
        <pc:chgData name="Stefan Severing" userId="e87137f8-9beb-4a79-baf9-8658a8205ecd" providerId="ADAL" clId="{0277F1B5-5E79-4F60-84AD-0CD79CA2AE97}" dt="2025-02-17T10:40:23.579" v="0" actId="20578"/>
        <pc:sldMkLst>
          <pc:docMk/>
          <pc:sldMk cId="3651036424" sldId="340"/>
        </pc:sldMkLst>
      </pc:sldChg>
    </pc:docChg>
  </pc:docChgLst>
  <pc:docChgLst>
    <pc:chgData name="Tomas Santiago Bonanno" userId="S::tomas.bonanno@asics.com::6aaceacc-e6ab-4b88-91ce-2cfd38f0cf3b" providerId="AD" clId="Web-{113D5254-06B3-7380-423B-FBB3321EA6CA}"/>
    <pc:docChg chg="addSld modSld">
      <pc:chgData name="Tomas Santiago Bonanno" userId="S::tomas.bonanno@asics.com::6aaceacc-e6ab-4b88-91ce-2cfd38f0cf3b" providerId="AD" clId="Web-{113D5254-06B3-7380-423B-FBB3321EA6CA}" dt="2024-11-15T15:16:32.142" v="1675" actId="20577"/>
      <pc:docMkLst>
        <pc:docMk/>
      </pc:docMkLst>
      <pc:sldChg chg="addSp delSp modSp">
        <pc:chgData name="Tomas Santiago Bonanno" userId="S::tomas.bonanno@asics.com::6aaceacc-e6ab-4b88-91ce-2cfd38f0cf3b" providerId="AD" clId="Web-{113D5254-06B3-7380-423B-FBB3321EA6CA}" dt="2024-11-15T15:16:32.142" v="1675" actId="20577"/>
        <pc:sldMkLst>
          <pc:docMk/>
          <pc:sldMk cId="2440748235" sldId="259"/>
        </pc:sldMkLst>
      </pc:sldChg>
      <pc:sldChg chg="addSp delSp modSp">
        <pc:chgData name="Tomas Santiago Bonanno" userId="S::tomas.bonanno@asics.com::6aaceacc-e6ab-4b88-91ce-2cfd38f0cf3b" providerId="AD" clId="Web-{113D5254-06B3-7380-423B-FBB3321EA6CA}" dt="2024-11-15T11:10:58.973" v="333"/>
        <pc:sldMkLst>
          <pc:docMk/>
          <pc:sldMk cId="1370533848" sldId="332"/>
        </pc:sldMkLst>
      </pc:sldChg>
      <pc:sldChg chg="addSp delSp modSp">
        <pc:chgData name="Tomas Santiago Bonanno" userId="S::tomas.bonanno@asics.com::6aaceacc-e6ab-4b88-91ce-2cfd38f0cf3b" providerId="AD" clId="Web-{113D5254-06B3-7380-423B-FBB3321EA6CA}" dt="2024-11-15T14:21:46.614" v="1160" actId="20577"/>
        <pc:sldMkLst>
          <pc:docMk/>
          <pc:sldMk cId="3002347597" sldId="335"/>
        </pc:sldMkLst>
      </pc:sldChg>
      <pc:sldChg chg="addSp delSp modSp">
        <pc:chgData name="Tomas Santiago Bonanno" userId="S::tomas.bonanno@asics.com::6aaceacc-e6ab-4b88-91ce-2cfd38f0cf3b" providerId="AD" clId="Web-{113D5254-06B3-7380-423B-FBB3321EA6CA}" dt="2024-11-15T13:25:02.283" v="540" actId="14100"/>
        <pc:sldMkLst>
          <pc:docMk/>
          <pc:sldMk cId="238564029" sldId="359"/>
        </pc:sldMkLst>
      </pc:sldChg>
      <pc:sldChg chg="addSp delSp modSp">
        <pc:chgData name="Tomas Santiago Bonanno" userId="S::tomas.bonanno@asics.com::6aaceacc-e6ab-4b88-91ce-2cfd38f0cf3b" providerId="AD" clId="Web-{113D5254-06B3-7380-423B-FBB3321EA6CA}" dt="2024-11-15T14:38:11.232" v="1274" actId="20577"/>
        <pc:sldMkLst>
          <pc:docMk/>
          <pc:sldMk cId="3326286934" sldId="361"/>
        </pc:sldMkLst>
      </pc:sldChg>
      <pc:sldChg chg="addSp delSp modSp">
        <pc:chgData name="Tomas Santiago Bonanno" userId="S::tomas.bonanno@asics.com::6aaceacc-e6ab-4b88-91ce-2cfd38f0cf3b" providerId="AD" clId="Web-{113D5254-06B3-7380-423B-FBB3321EA6CA}" dt="2024-11-15T15:13:58.419" v="1668"/>
        <pc:sldMkLst>
          <pc:docMk/>
          <pc:sldMk cId="2310231329" sldId="363"/>
        </pc:sldMkLst>
      </pc:sldChg>
      <pc:sldChg chg="addSp delSp modSp">
        <pc:chgData name="Tomas Santiago Bonanno" userId="S::tomas.bonanno@asics.com::6aaceacc-e6ab-4b88-91ce-2cfd38f0cf3b" providerId="AD" clId="Web-{113D5254-06B3-7380-423B-FBB3321EA6CA}" dt="2024-11-15T13:46:23.330" v="699" actId="1076"/>
        <pc:sldMkLst>
          <pc:docMk/>
          <pc:sldMk cId="3599572134" sldId="364"/>
        </pc:sldMkLst>
      </pc:sldChg>
      <pc:sldChg chg="addSp delSp modSp">
        <pc:chgData name="Tomas Santiago Bonanno" userId="S::tomas.bonanno@asics.com::6aaceacc-e6ab-4b88-91ce-2cfd38f0cf3b" providerId="AD" clId="Web-{113D5254-06B3-7380-423B-FBB3321EA6CA}" dt="2024-11-15T14:10:12.345" v="1071" actId="14100"/>
        <pc:sldMkLst>
          <pc:docMk/>
          <pc:sldMk cId="2563951102" sldId="365"/>
        </pc:sldMkLst>
      </pc:sldChg>
      <pc:sldChg chg="addSp delSp modSp">
        <pc:chgData name="Tomas Santiago Bonanno" userId="S::tomas.bonanno@asics.com::6aaceacc-e6ab-4b88-91ce-2cfd38f0cf3b" providerId="AD" clId="Web-{113D5254-06B3-7380-423B-FBB3321EA6CA}" dt="2024-11-15T15:05:09.552" v="1623" actId="1076"/>
        <pc:sldMkLst>
          <pc:docMk/>
          <pc:sldMk cId="2191538284" sldId="366"/>
        </pc:sldMkLst>
      </pc:sldChg>
      <pc:sldChg chg="addSp delSp modSp add replId">
        <pc:chgData name="Tomas Santiago Bonanno" userId="S::tomas.bonanno@asics.com::6aaceacc-e6ab-4b88-91ce-2cfd38f0cf3b" providerId="AD" clId="Web-{113D5254-06B3-7380-423B-FBB3321EA6CA}" dt="2024-11-15T15:06:50.544" v="1631" actId="14100"/>
        <pc:sldMkLst>
          <pc:docMk/>
          <pc:sldMk cId="2545693087" sldId="373"/>
        </pc:sldMkLst>
      </pc:sldChg>
    </pc:docChg>
  </pc:docChgLst>
  <pc:docChgLst>
    <pc:chgData name="Tomas Santiago Bonanno" userId="S::tomas.bonanno@asics.com::6aaceacc-e6ab-4b88-91ce-2cfd38f0cf3b" providerId="AD" clId="Web-{3ADBCAC3-6B66-D5D1-1A09-C2CEB3738493}"/>
    <pc:docChg chg="modSld">
      <pc:chgData name="Tomas Santiago Bonanno" userId="S::tomas.bonanno@asics.com::6aaceacc-e6ab-4b88-91ce-2cfd38f0cf3b" providerId="AD" clId="Web-{3ADBCAC3-6B66-D5D1-1A09-C2CEB3738493}" dt="2024-11-21T11:48:36.642" v="17" actId="1076"/>
      <pc:docMkLst>
        <pc:docMk/>
      </pc:docMkLst>
      <pc:sldChg chg="addSp delSp modSp">
        <pc:chgData name="Tomas Santiago Bonanno" userId="S::tomas.bonanno@asics.com::6aaceacc-e6ab-4b88-91ce-2cfd38f0cf3b" providerId="AD" clId="Web-{3ADBCAC3-6B66-D5D1-1A09-C2CEB3738493}" dt="2024-11-21T11:48:36.642" v="17" actId="1076"/>
        <pc:sldMkLst>
          <pc:docMk/>
          <pc:sldMk cId="1370533848" sldId="332"/>
        </pc:sldMkLst>
      </pc:sldChg>
    </pc:docChg>
  </pc:docChgLst>
  <pc:docChgLst>
    <pc:chgData name="Martijn van Eijk" userId="da16bcdb-5576-4416-9e5c-7c3ecd294fd8" providerId="ADAL" clId="{CD2237B4-B28F-4D5D-81A6-51BC5462B8EE}"/>
    <pc:docChg chg="sldOrd">
      <pc:chgData name="Martijn van Eijk" userId="da16bcdb-5576-4416-9e5c-7c3ecd294fd8" providerId="ADAL" clId="{CD2237B4-B28F-4D5D-81A6-51BC5462B8EE}" dt="2025-02-11T06:46:24.127" v="0" actId="20578"/>
      <pc:docMkLst>
        <pc:docMk/>
      </pc:docMkLst>
      <pc:sldChg chg="ord">
        <pc:chgData name="Martijn van Eijk" userId="da16bcdb-5576-4416-9e5c-7c3ecd294fd8" providerId="ADAL" clId="{CD2237B4-B28F-4D5D-81A6-51BC5462B8EE}" dt="2025-02-11T06:46:24.127" v="0" actId="20578"/>
        <pc:sldMkLst>
          <pc:docMk/>
          <pc:sldMk cId="1370533848" sldId="332"/>
        </pc:sldMkLst>
      </pc:sldChg>
    </pc:docChg>
  </pc:docChgLst>
  <pc:docChgLst>
    <pc:chgData name="Lorry Dourguin" userId="1fa68728-0439-41dd-812c-17b0116b3eb2" providerId="ADAL" clId="{A14B4C2D-87AA-463E-B46E-8C1CAF407249}"/>
    <pc:docChg chg="modSld sldOrd">
      <pc:chgData name="Lorry Dourguin" userId="1fa68728-0439-41dd-812c-17b0116b3eb2" providerId="ADAL" clId="{A14B4C2D-87AA-463E-B46E-8C1CAF407249}" dt="2025-04-10T07:37:34.575" v="1"/>
      <pc:docMkLst>
        <pc:docMk/>
      </pc:docMkLst>
      <pc:sldChg chg="ord">
        <pc:chgData name="Lorry Dourguin" userId="1fa68728-0439-41dd-812c-17b0116b3eb2" providerId="ADAL" clId="{A14B4C2D-87AA-463E-B46E-8C1CAF407249}" dt="2025-04-10T07:37:34.575" v="1"/>
        <pc:sldMkLst>
          <pc:docMk/>
          <pc:sldMk cId="3599572134" sldId="364"/>
        </pc:sldMkLst>
      </pc:sldChg>
    </pc:docChg>
  </pc:docChgLst>
  <pc:docChgLst>
    <pc:chgData name="Tomas Santiago Bonanno" userId="S::tomas.bonanno@asics.com::6aaceacc-e6ab-4b88-91ce-2cfd38f0cf3b" providerId="AD" clId="Web-{8081EB1F-758D-094B-C697-B78DE7B9938B}"/>
    <pc:docChg chg="modSld">
      <pc:chgData name="Tomas Santiago Bonanno" userId="S::tomas.bonanno@asics.com::6aaceacc-e6ab-4b88-91ce-2cfd38f0cf3b" providerId="AD" clId="Web-{8081EB1F-758D-094B-C697-B78DE7B9938B}" dt="2025-04-07T15:00:37.811" v="3" actId="14100"/>
      <pc:docMkLst>
        <pc:docMk/>
      </pc:docMkLst>
      <pc:sldChg chg="modSp">
        <pc:chgData name="Tomas Santiago Bonanno" userId="S::tomas.bonanno@asics.com::6aaceacc-e6ab-4b88-91ce-2cfd38f0cf3b" providerId="AD" clId="Web-{8081EB1F-758D-094B-C697-B78DE7B9938B}" dt="2025-04-07T15:00:37.811" v="3" actId="14100"/>
        <pc:sldMkLst>
          <pc:docMk/>
          <pc:sldMk cId="2545693087" sldId="373"/>
        </pc:sldMkLst>
        <pc:picChg chg="mod">
          <ac:chgData name="Tomas Santiago Bonanno" userId="S::tomas.bonanno@asics.com::6aaceacc-e6ab-4b88-91ce-2cfd38f0cf3b" providerId="AD" clId="Web-{8081EB1F-758D-094B-C697-B78DE7B9938B}" dt="2025-04-07T15:00:37.811" v="3" actId="14100"/>
          <ac:picMkLst>
            <pc:docMk/>
            <pc:sldMk cId="2545693087" sldId="373"/>
            <ac:picMk id="77" creationId="{8C5031C5-1488-57CC-D2A2-F42248ECB12F}"/>
          </ac:picMkLst>
        </pc:picChg>
      </pc:sldChg>
    </pc:docChg>
  </pc:docChgLst>
  <pc:docChgLst>
    <pc:chgData name="Tomas Santiago Bonanno" userId="S::tomas.bonanno@asics.com::6aaceacc-e6ab-4b88-91ce-2cfd38f0cf3b" providerId="AD" clId="Web-{AEB62919-116B-5449-0C95-3A2A60FE0233}"/>
    <pc:docChg chg="modSld">
      <pc:chgData name="Tomas Santiago Bonanno" userId="S::tomas.bonanno@asics.com::6aaceacc-e6ab-4b88-91ce-2cfd38f0cf3b" providerId="AD" clId="Web-{AEB62919-116B-5449-0C95-3A2A60FE0233}" dt="2025-02-04T14:32:29.547" v="166" actId="20577"/>
      <pc:docMkLst>
        <pc:docMk/>
      </pc:docMkLst>
      <pc:sldChg chg="modSp">
        <pc:chgData name="Tomas Santiago Bonanno" userId="S::tomas.bonanno@asics.com::6aaceacc-e6ab-4b88-91ce-2cfd38f0cf3b" providerId="AD" clId="Web-{AEB62919-116B-5449-0C95-3A2A60FE0233}" dt="2025-02-04T14:30:15.167" v="32" actId="20577"/>
        <pc:sldMkLst>
          <pc:docMk/>
          <pc:sldMk cId="3651036424" sldId="340"/>
        </pc:sldMkLst>
      </pc:sldChg>
      <pc:sldChg chg="modSp">
        <pc:chgData name="Tomas Santiago Bonanno" userId="S::tomas.bonanno@asics.com::6aaceacc-e6ab-4b88-91ce-2cfd38f0cf3b" providerId="AD" clId="Web-{AEB62919-116B-5449-0C95-3A2A60FE0233}" dt="2025-02-04T14:30:34.074" v="62" actId="20577"/>
        <pc:sldMkLst>
          <pc:docMk/>
          <pc:sldMk cId="518256622" sldId="342"/>
        </pc:sldMkLst>
      </pc:sldChg>
      <pc:sldChg chg="modSp">
        <pc:chgData name="Tomas Santiago Bonanno" userId="S::tomas.bonanno@asics.com::6aaceacc-e6ab-4b88-91ce-2cfd38f0cf3b" providerId="AD" clId="Web-{AEB62919-116B-5449-0C95-3A2A60FE0233}" dt="2025-02-04T14:31:15.122" v="86" actId="20577"/>
        <pc:sldMkLst>
          <pc:docMk/>
          <pc:sldMk cId="1868421829" sldId="343"/>
        </pc:sldMkLst>
      </pc:sldChg>
      <pc:sldChg chg="modSp">
        <pc:chgData name="Tomas Santiago Bonanno" userId="S::tomas.bonanno@asics.com::6aaceacc-e6ab-4b88-91ce-2cfd38f0cf3b" providerId="AD" clId="Web-{AEB62919-116B-5449-0C95-3A2A60FE0233}" dt="2025-02-04T14:31:53.999" v="130" actId="20577"/>
        <pc:sldMkLst>
          <pc:docMk/>
          <pc:sldMk cId="1089569201" sldId="345"/>
        </pc:sldMkLst>
      </pc:sldChg>
      <pc:sldChg chg="modSp">
        <pc:chgData name="Tomas Santiago Bonanno" userId="S::tomas.bonanno@asics.com::6aaceacc-e6ab-4b88-91ce-2cfd38f0cf3b" providerId="AD" clId="Web-{AEB62919-116B-5449-0C95-3A2A60FE0233}" dt="2025-02-04T14:32:29.547" v="166" actId="20577"/>
        <pc:sldMkLst>
          <pc:docMk/>
          <pc:sldMk cId="3513931044" sldId="348"/>
        </pc:sldMkLst>
      </pc:sldChg>
      <pc:sldChg chg="modSp">
        <pc:chgData name="Tomas Santiago Bonanno" userId="S::tomas.bonanno@asics.com::6aaceacc-e6ab-4b88-91ce-2cfd38f0cf3b" providerId="AD" clId="Web-{AEB62919-116B-5449-0C95-3A2A60FE0233}" dt="2025-02-04T14:31:31.404" v="103" actId="20577"/>
        <pc:sldMkLst>
          <pc:docMk/>
          <pc:sldMk cId="755809019" sldId="367"/>
        </pc:sldMkLst>
      </pc:sldChg>
      <pc:sldChg chg="modSp">
        <pc:chgData name="Tomas Santiago Bonanno" userId="S::tomas.bonanno@asics.com::6aaceacc-e6ab-4b88-91ce-2cfd38f0cf3b" providerId="AD" clId="Web-{AEB62919-116B-5449-0C95-3A2A60FE0233}" dt="2025-02-04T14:32:12.359" v="152" actId="20577"/>
        <pc:sldMkLst>
          <pc:docMk/>
          <pc:sldMk cId="4187982558" sldId="368"/>
        </pc:sldMkLst>
      </pc:sldChg>
    </pc:docChg>
  </pc:docChgLst>
  <pc:docChgLst>
    <pc:chgData name="Tomas Santiago Bonanno" userId="S::tomas.bonanno@asics.com::6aaceacc-e6ab-4b88-91ce-2cfd38f0cf3b" providerId="AD" clId="Web-{4C7BE33A-4BC8-392E-FB64-CBB3CBAA19CE}"/>
    <pc:docChg chg="modSld">
      <pc:chgData name="Tomas Santiago Bonanno" userId="S::tomas.bonanno@asics.com::6aaceacc-e6ab-4b88-91ce-2cfd38f0cf3b" providerId="AD" clId="Web-{4C7BE33A-4BC8-392E-FB64-CBB3CBAA19CE}" dt="2025-01-27T10:42:28.612" v="45" actId="20577"/>
      <pc:docMkLst>
        <pc:docMk/>
      </pc:docMkLst>
      <pc:sldChg chg="modSp">
        <pc:chgData name="Tomas Santiago Bonanno" userId="S::tomas.bonanno@asics.com::6aaceacc-e6ab-4b88-91ce-2cfd38f0cf3b" providerId="AD" clId="Web-{4C7BE33A-4BC8-392E-FB64-CBB3CBAA19CE}" dt="2025-01-27T10:42:28.612" v="45" actId="20577"/>
        <pc:sldMkLst>
          <pc:docMk/>
          <pc:sldMk cId="2191538284" sldId="366"/>
        </pc:sldMkLst>
      </pc:sldChg>
      <pc:sldChg chg="modSp">
        <pc:chgData name="Tomas Santiago Bonanno" userId="S::tomas.bonanno@asics.com::6aaceacc-e6ab-4b88-91ce-2cfd38f0cf3b" providerId="AD" clId="Web-{4C7BE33A-4BC8-392E-FB64-CBB3CBAA19CE}" dt="2025-01-27T10:41:46.595" v="26" actId="1076"/>
        <pc:sldMkLst>
          <pc:docMk/>
          <pc:sldMk cId="2545693087" sldId="373"/>
        </pc:sldMkLst>
      </pc:sldChg>
    </pc:docChg>
  </pc:docChgLst>
  <pc:docChgLst>
    <pc:chgData name="Carla Teissier" userId="07b304b7-f21f-411e-8f83-22eb1709e4ba" providerId="ADAL" clId="{49DF99C4-8B72-4995-9E9C-32C90833ED9C}"/>
    <pc:docChg chg="undo custSel modSld sldOrd">
      <pc:chgData name="Carla Teissier" userId="07b304b7-f21f-411e-8f83-22eb1709e4ba" providerId="ADAL" clId="{49DF99C4-8B72-4995-9E9C-32C90833ED9C}" dt="2025-03-10T18:44:10.079" v="29" actId="14100"/>
      <pc:docMkLst>
        <pc:docMk/>
      </pc:docMkLst>
      <pc:sldChg chg="modSp mod">
        <pc:chgData name="Carla Teissier" userId="07b304b7-f21f-411e-8f83-22eb1709e4ba" providerId="ADAL" clId="{49DF99C4-8B72-4995-9E9C-32C90833ED9C}" dt="2025-03-05T10:58:01.927" v="14" actId="14100"/>
        <pc:sldMkLst>
          <pc:docMk/>
          <pc:sldMk cId="1370533848" sldId="332"/>
        </pc:sldMkLst>
        <pc:picChg chg="mod">
          <ac:chgData name="Carla Teissier" userId="07b304b7-f21f-411e-8f83-22eb1709e4ba" providerId="ADAL" clId="{49DF99C4-8B72-4995-9E9C-32C90833ED9C}" dt="2025-03-05T10:57:35.940" v="11" actId="14100"/>
          <ac:picMkLst>
            <pc:docMk/>
            <pc:sldMk cId="1370533848" sldId="332"/>
            <ac:picMk id="104" creationId="{E6985A3A-C8EA-317D-7673-E38900883F72}"/>
          </ac:picMkLst>
        </pc:picChg>
        <pc:picChg chg="mod">
          <ac:chgData name="Carla Teissier" userId="07b304b7-f21f-411e-8f83-22eb1709e4ba" providerId="ADAL" clId="{49DF99C4-8B72-4995-9E9C-32C90833ED9C}" dt="2025-03-05T10:58:01.927" v="14" actId="14100"/>
          <ac:picMkLst>
            <pc:docMk/>
            <pc:sldMk cId="1370533848" sldId="332"/>
            <ac:picMk id="109" creationId="{E73D836F-3331-1789-3521-7A56294D61DE}"/>
          </ac:picMkLst>
        </pc:picChg>
      </pc:sldChg>
      <pc:sldChg chg="addSp delSp modSp mod ord">
        <pc:chgData name="Carla Teissier" userId="07b304b7-f21f-411e-8f83-22eb1709e4ba" providerId="ADAL" clId="{49DF99C4-8B72-4995-9E9C-32C90833ED9C}" dt="2025-03-10T09:02:22.829" v="27" actId="14100"/>
        <pc:sldMkLst>
          <pc:docMk/>
          <pc:sldMk cId="238564029" sldId="359"/>
        </pc:sldMkLst>
        <pc:picChg chg="mod">
          <ac:chgData name="Carla Teissier" userId="07b304b7-f21f-411e-8f83-22eb1709e4ba" providerId="ADAL" clId="{49DF99C4-8B72-4995-9E9C-32C90833ED9C}" dt="2025-03-10T09:02:22.829" v="27" actId="14100"/>
          <ac:picMkLst>
            <pc:docMk/>
            <pc:sldMk cId="238564029" sldId="359"/>
            <ac:picMk id="112" creationId="{66EA52BF-1901-655A-9FB2-AE9573127135}"/>
          </ac:picMkLst>
        </pc:picChg>
        <pc:picChg chg="mod">
          <ac:chgData name="Carla Teissier" userId="07b304b7-f21f-411e-8f83-22eb1709e4ba" providerId="ADAL" clId="{49DF99C4-8B72-4995-9E9C-32C90833ED9C}" dt="2025-03-10T09:02:22.829" v="27" actId="14100"/>
          <ac:picMkLst>
            <pc:docMk/>
            <pc:sldMk cId="238564029" sldId="359"/>
            <ac:picMk id="113" creationId="{5A89DD19-37BD-8689-CC4E-208A144E45DB}"/>
          </ac:picMkLst>
        </pc:picChg>
        <pc:picChg chg="mod">
          <ac:chgData name="Carla Teissier" userId="07b304b7-f21f-411e-8f83-22eb1709e4ba" providerId="ADAL" clId="{49DF99C4-8B72-4995-9E9C-32C90833ED9C}" dt="2025-02-26T14:39:17.929" v="9" actId="14100"/>
          <ac:picMkLst>
            <pc:docMk/>
            <pc:sldMk cId="238564029" sldId="359"/>
            <ac:picMk id="138" creationId="{4E323190-9043-1DAC-50A6-B495F88C6039}"/>
          </ac:picMkLst>
        </pc:picChg>
      </pc:sldChg>
      <pc:sldChg chg="modSp mod">
        <pc:chgData name="Carla Teissier" userId="07b304b7-f21f-411e-8f83-22eb1709e4ba" providerId="ADAL" clId="{49DF99C4-8B72-4995-9E9C-32C90833ED9C}" dt="2025-03-06T15:24:08.429" v="18" actId="14100"/>
        <pc:sldMkLst>
          <pc:docMk/>
          <pc:sldMk cId="3599572134" sldId="364"/>
        </pc:sldMkLst>
        <pc:picChg chg="mod">
          <ac:chgData name="Carla Teissier" userId="07b304b7-f21f-411e-8f83-22eb1709e4ba" providerId="ADAL" clId="{49DF99C4-8B72-4995-9E9C-32C90833ED9C}" dt="2025-03-06T15:23:07.414" v="16" actId="14100"/>
          <ac:picMkLst>
            <pc:docMk/>
            <pc:sldMk cId="3599572134" sldId="364"/>
            <ac:picMk id="92" creationId="{215DCA33-5431-135E-74BA-BD69C513B3E2}"/>
          </ac:picMkLst>
        </pc:picChg>
        <pc:picChg chg="mod">
          <ac:chgData name="Carla Teissier" userId="07b304b7-f21f-411e-8f83-22eb1709e4ba" providerId="ADAL" clId="{49DF99C4-8B72-4995-9E9C-32C90833ED9C}" dt="2025-03-06T15:24:08.429" v="18" actId="14100"/>
          <ac:picMkLst>
            <pc:docMk/>
            <pc:sldMk cId="3599572134" sldId="364"/>
            <ac:picMk id="93" creationId="{30C6DDCD-3606-6112-39F3-08782EA986B8}"/>
          </ac:picMkLst>
        </pc:picChg>
      </pc:sldChg>
      <pc:sldChg chg="modSp mod">
        <pc:chgData name="Carla Teissier" userId="07b304b7-f21f-411e-8f83-22eb1709e4ba" providerId="ADAL" clId="{49DF99C4-8B72-4995-9E9C-32C90833ED9C}" dt="2025-03-06T15:33:10.971" v="25" actId="14100"/>
        <pc:sldMkLst>
          <pc:docMk/>
          <pc:sldMk cId="2563951102" sldId="365"/>
        </pc:sldMkLst>
        <pc:picChg chg="mod ord">
          <ac:chgData name="Carla Teissier" userId="07b304b7-f21f-411e-8f83-22eb1709e4ba" providerId="ADAL" clId="{49DF99C4-8B72-4995-9E9C-32C90833ED9C}" dt="2025-03-06T15:33:10.971" v="25" actId="14100"/>
          <ac:picMkLst>
            <pc:docMk/>
            <pc:sldMk cId="2563951102" sldId="365"/>
            <ac:picMk id="109" creationId="{FF331A87-84C2-E853-AC94-34116AC04CE4}"/>
          </ac:picMkLst>
        </pc:picChg>
      </pc:sldChg>
      <pc:sldChg chg="modSp mod">
        <pc:chgData name="Carla Teissier" userId="07b304b7-f21f-411e-8f83-22eb1709e4ba" providerId="ADAL" clId="{49DF99C4-8B72-4995-9E9C-32C90833ED9C}" dt="2025-03-10T18:44:10.079" v="29" actId="14100"/>
        <pc:sldMkLst>
          <pc:docMk/>
          <pc:sldMk cId="2545693087" sldId="373"/>
        </pc:sldMkLst>
        <pc:picChg chg="mod">
          <ac:chgData name="Carla Teissier" userId="07b304b7-f21f-411e-8f83-22eb1709e4ba" providerId="ADAL" clId="{49DF99C4-8B72-4995-9E9C-32C90833ED9C}" dt="2025-03-10T18:44:10.079" v="29" actId="14100"/>
          <ac:picMkLst>
            <pc:docMk/>
            <pc:sldMk cId="2545693087" sldId="373"/>
            <ac:picMk id="80" creationId="{62545B46-A598-0B7F-95E2-3587624252B2}"/>
          </ac:picMkLst>
        </pc:picChg>
      </pc:sldChg>
    </pc:docChg>
  </pc:docChgLst>
  <pc:docChgLst>
    <pc:chgData name="Tomas Santiago Bonanno" userId="S::tomas.bonanno@asics.com::6aaceacc-e6ab-4b88-91ce-2cfd38f0cf3b" providerId="AD" clId="Web-{D1FB5E0A-BC1F-48D4-410D-21522ED59D11}"/>
    <pc:docChg chg="modSld">
      <pc:chgData name="Tomas Santiago Bonanno" userId="S::tomas.bonanno@asics.com::6aaceacc-e6ab-4b88-91ce-2cfd38f0cf3b" providerId="AD" clId="Web-{D1FB5E0A-BC1F-48D4-410D-21522ED59D11}" dt="2025-02-25T16:13:54.544" v="23" actId="1076"/>
      <pc:docMkLst>
        <pc:docMk/>
      </pc:docMkLst>
      <pc:sldChg chg="delSp modSp">
        <pc:chgData name="Tomas Santiago Bonanno" userId="S::tomas.bonanno@asics.com::6aaceacc-e6ab-4b88-91ce-2cfd38f0cf3b" providerId="AD" clId="Web-{D1FB5E0A-BC1F-48D4-410D-21522ED59D11}" dt="2025-02-25T16:13:54.544" v="23" actId="1076"/>
        <pc:sldMkLst>
          <pc:docMk/>
          <pc:sldMk cId="2901304641" sldId="375"/>
        </pc:sldMkLst>
      </pc:sldChg>
    </pc:docChg>
  </pc:docChgLst>
  <pc:docChgLst>
    <pc:chgData name="Jacobo de Nicolás Nuñez" userId="7c6829d1-1bf6-4417-b4a9-02cb8827630e" providerId="ADAL" clId="{24FFA3A1-9083-4218-BD16-418FC2A97160}"/>
    <pc:docChg chg="undo custSel modSld">
      <pc:chgData name="Jacobo de Nicolás Nuñez" userId="7c6829d1-1bf6-4417-b4a9-02cb8827630e" providerId="ADAL" clId="{24FFA3A1-9083-4218-BD16-418FC2A97160}" dt="2025-04-23T12:10:40.909" v="1078" actId="1076"/>
      <pc:docMkLst>
        <pc:docMk/>
      </pc:docMkLst>
      <pc:sldChg chg="modSp mod">
        <pc:chgData name="Jacobo de Nicolás Nuñez" userId="7c6829d1-1bf6-4417-b4a9-02cb8827630e" providerId="ADAL" clId="{24FFA3A1-9083-4218-BD16-418FC2A97160}" dt="2025-04-23T07:52:17.983" v="401" actId="14100"/>
        <pc:sldMkLst>
          <pc:docMk/>
          <pc:sldMk cId="2440748235" sldId="259"/>
        </pc:sldMkLst>
        <pc:picChg chg="mod">
          <ac:chgData name="Jacobo de Nicolás Nuñez" userId="7c6829d1-1bf6-4417-b4a9-02cb8827630e" providerId="ADAL" clId="{24FFA3A1-9083-4218-BD16-418FC2A97160}" dt="2025-04-23T07:52:17.983" v="401" actId="14100"/>
          <ac:picMkLst>
            <pc:docMk/>
            <pc:sldMk cId="2440748235" sldId="259"/>
            <ac:picMk id="36" creationId="{DE25EFAB-5314-56CA-02E5-6ED8E272CC11}"/>
          </ac:picMkLst>
        </pc:picChg>
        <pc:picChg chg="mod">
          <ac:chgData name="Jacobo de Nicolás Nuñez" userId="7c6829d1-1bf6-4417-b4a9-02cb8827630e" providerId="ADAL" clId="{24FFA3A1-9083-4218-BD16-418FC2A97160}" dt="2025-04-23T07:52:17.983" v="401" actId="14100"/>
          <ac:picMkLst>
            <pc:docMk/>
            <pc:sldMk cId="2440748235" sldId="259"/>
            <ac:picMk id="51" creationId="{F9E1E3FB-CC69-689F-B7C8-3E809113F447}"/>
          </ac:picMkLst>
        </pc:picChg>
        <pc:picChg chg="mod">
          <ac:chgData name="Jacobo de Nicolás Nuñez" userId="7c6829d1-1bf6-4417-b4a9-02cb8827630e" providerId="ADAL" clId="{24FFA3A1-9083-4218-BD16-418FC2A97160}" dt="2025-04-23T07:52:17.983" v="401" actId="14100"/>
          <ac:picMkLst>
            <pc:docMk/>
            <pc:sldMk cId="2440748235" sldId="259"/>
            <ac:picMk id="58" creationId="{960A35FB-8E7B-03A3-D7DA-8189E83FD67E}"/>
          </ac:picMkLst>
        </pc:picChg>
        <pc:picChg chg="mod">
          <ac:chgData name="Jacobo de Nicolás Nuñez" userId="7c6829d1-1bf6-4417-b4a9-02cb8827630e" providerId="ADAL" clId="{24FFA3A1-9083-4218-BD16-418FC2A97160}" dt="2025-04-23T07:52:17.983" v="401" actId="14100"/>
          <ac:picMkLst>
            <pc:docMk/>
            <pc:sldMk cId="2440748235" sldId="259"/>
            <ac:picMk id="62" creationId="{C8A325E4-2169-77AA-1CE6-833EE0620E84}"/>
          </ac:picMkLst>
        </pc:picChg>
      </pc:sldChg>
      <pc:sldChg chg="addSp delSp modSp mod">
        <pc:chgData name="Jacobo de Nicolás Nuñez" userId="7c6829d1-1bf6-4417-b4a9-02cb8827630e" providerId="ADAL" clId="{24FFA3A1-9083-4218-BD16-418FC2A97160}" dt="2025-04-23T12:10:40.909" v="1078" actId="1076"/>
        <pc:sldMkLst>
          <pc:docMk/>
          <pc:sldMk cId="1370533848" sldId="332"/>
        </pc:sldMkLst>
        <pc:spChg chg="mod ord">
          <ac:chgData name="Jacobo de Nicolás Nuñez" userId="7c6829d1-1bf6-4417-b4a9-02cb8827630e" providerId="ADAL" clId="{24FFA3A1-9083-4218-BD16-418FC2A97160}" dt="2025-04-16T11:16:45.536" v="118"/>
          <ac:spMkLst>
            <pc:docMk/>
            <pc:sldMk cId="1370533848" sldId="332"/>
            <ac:spMk id="2" creationId="{8D9BEE49-4687-4A81-A972-21AD9C5EA9CA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20"/>
          <ac:spMkLst>
            <pc:docMk/>
            <pc:sldMk cId="1370533848" sldId="332"/>
            <ac:spMk id="3" creationId="{A5C93B73-E9CE-44B0-A142-9C6E62D29420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26"/>
          <ac:spMkLst>
            <pc:docMk/>
            <pc:sldMk cId="1370533848" sldId="332"/>
            <ac:spMk id="7" creationId="{EC94D164-37C0-7E9D-9281-B419CD34D8C5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28"/>
          <ac:spMkLst>
            <pc:docMk/>
            <pc:sldMk cId="1370533848" sldId="332"/>
            <ac:spMk id="13" creationId="{8095E7A7-8B65-5274-C6EF-08901ECDF950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30"/>
          <ac:spMkLst>
            <pc:docMk/>
            <pc:sldMk cId="1370533848" sldId="332"/>
            <ac:spMk id="15" creationId="{BDBEF29B-2E55-A6A7-8A8F-94DBA826F846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32"/>
          <ac:spMkLst>
            <pc:docMk/>
            <pc:sldMk cId="1370533848" sldId="332"/>
            <ac:spMk id="17" creationId="{D21A9689-5F89-129B-F801-C5291F14758C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24"/>
          <ac:spMkLst>
            <pc:docMk/>
            <pc:sldMk cId="1370533848" sldId="332"/>
            <ac:spMk id="18" creationId="{8095E7A7-8B65-5274-C6EF-08901ECDF950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34"/>
          <ac:spMkLst>
            <pc:docMk/>
            <pc:sldMk cId="1370533848" sldId="332"/>
            <ac:spMk id="23" creationId="{1FA55A65-DE3A-3E8F-D0BE-59E21B62D07D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36"/>
          <ac:spMkLst>
            <pc:docMk/>
            <pc:sldMk cId="1370533848" sldId="332"/>
            <ac:spMk id="24" creationId="{6B450143-5830-E34F-ADFE-A0F179EEBC1C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38"/>
          <ac:spMkLst>
            <pc:docMk/>
            <pc:sldMk cId="1370533848" sldId="332"/>
            <ac:spMk id="27" creationId="{08A0B9DC-60C3-AADB-2614-7A49FE9F4C08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40"/>
          <ac:spMkLst>
            <pc:docMk/>
            <pc:sldMk cId="1370533848" sldId="332"/>
            <ac:spMk id="28" creationId="{352874F1-6A14-8DD3-7E26-7172C2F84ADF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42"/>
          <ac:spMkLst>
            <pc:docMk/>
            <pc:sldMk cId="1370533848" sldId="332"/>
            <ac:spMk id="29" creationId="{E0C73F92-6513-87B3-48E0-7D85B1FD7D20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44"/>
          <ac:spMkLst>
            <pc:docMk/>
            <pc:sldMk cId="1370533848" sldId="332"/>
            <ac:spMk id="30" creationId="{0CCFC41F-36CC-2C1B-0767-D387698BBA6E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46"/>
          <ac:spMkLst>
            <pc:docMk/>
            <pc:sldMk cId="1370533848" sldId="332"/>
            <ac:spMk id="41" creationId="{3ED4DEF7-8A06-5CD4-5C48-8425511DE783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48"/>
          <ac:spMkLst>
            <pc:docMk/>
            <pc:sldMk cId="1370533848" sldId="332"/>
            <ac:spMk id="42" creationId="{BFF0E1A8-BF8F-69C4-996C-FB43C70160F3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50"/>
          <ac:spMkLst>
            <pc:docMk/>
            <pc:sldMk cId="1370533848" sldId="332"/>
            <ac:spMk id="43" creationId="{6418FB15-767D-7FFD-41BE-4A0685F24BD2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52"/>
          <ac:spMkLst>
            <pc:docMk/>
            <pc:sldMk cId="1370533848" sldId="332"/>
            <ac:spMk id="52" creationId="{9BA8F864-6B6B-C2F5-710A-587BBD906F33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54"/>
          <ac:spMkLst>
            <pc:docMk/>
            <pc:sldMk cId="1370533848" sldId="332"/>
            <ac:spMk id="55" creationId="{3EE9026D-56ED-0FCB-D691-09F8D3541BE0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56"/>
          <ac:spMkLst>
            <pc:docMk/>
            <pc:sldMk cId="1370533848" sldId="332"/>
            <ac:spMk id="56" creationId="{3CE482DC-4240-32E8-BC4F-F7E65ABDD552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58"/>
          <ac:spMkLst>
            <pc:docMk/>
            <pc:sldMk cId="1370533848" sldId="332"/>
            <ac:spMk id="57" creationId="{996F9267-6E35-DCA4-E502-91FE9E2D63C5}"/>
          </ac:spMkLst>
        </pc:spChg>
        <pc:spChg chg="mod ord">
          <ac:chgData name="Jacobo de Nicolás Nuñez" userId="7c6829d1-1bf6-4417-b4a9-02cb8827630e" providerId="ADAL" clId="{24FFA3A1-9083-4218-BD16-418FC2A97160}" dt="2025-04-16T11:16:45.536" v="160"/>
          <ac:spMkLst>
            <pc:docMk/>
            <pc:sldMk cId="1370533848" sldId="332"/>
            <ac:spMk id="58" creationId="{600482E0-E340-58ED-9F5B-57BD7EB3383A}"/>
          </ac:spMkLst>
        </pc:spChg>
        <pc:spChg chg="mod ord">
          <ac:chgData name="Jacobo de Nicolás Nuñez" userId="7c6829d1-1bf6-4417-b4a9-02cb8827630e" providerId="ADAL" clId="{24FFA3A1-9083-4218-BD16-418FC2A97160}" dt="2025-04-16T11:16:45.552" v="162"/>
          <ac:spMkLst>
            <pc:docMk/>
            <pc:sldMk cId="1370533848" sldId="332"/>
            <ac:spMk id="64" creationId="{4321BE51-8D31-51FA-3B74-E60D9E62BFED}"/>
          </ac:spMkLst>
        </pc:spChg>
        <pc:spChg chg="mod ord">
          <ac:chgData name="Jacobo de Nicolás Nuñez" userId="7c6829d1-1bf6-4417-b4a9-02cb8827630e" providerId="ADAL" clId="{24FFA3A1-9083-4218-BD16-418FC2A97160}" dt="2025-04-16T11:16:45.552" v="164"/>
          <ac:spMkLst>
            <pc:docMk/>
            <pc:sldMk cId="1370533848" sldId="332"/>
            <ac:spMk id="65" creationId="{ADA66ADC-574B-A195-6B72-269793A78135}"/>
          </ac:spMkLst>
        </pc:spChg>
        <pc:spChg chg="mod ord">
          <ac:chgData name="Jacobo de Nicolás Nuñez" userId="7c6829d1-1bf6-4417-b4a9-02cb8827630e" providerId="ADAL" clId="{24FFA3A1-9083-4218-BD16-418FC2A97160}" dt="2025-04-16T11:16:45.552" v="166"/>
          <ac:spMkLst>
            <pc:docMk/>
            <pc:sldMk cId="1370533848" sldId="332"/>
            <ac:spMk id="66" creationId="{7DC25BEA-2345-BB11-1247-4A97A595C167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68"/>
          <ac:spMkLst>
            <pc:docMk/>
            <pc:sldMk cId="1370533848" sldId="332"/>
            <ac:spMk id="67" creationId="{D5684AB3-294C-2EC0-91E3-3F7FA59434CA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70"/>
          <ac:spMkLst>
            <pc:docMk/>
            <pc:sldMk cId="1370533848" sldId="332"/>
            <ac:spMk id="79" creationId="{EEA76D10-F9FC-3EBD-F894-DE869017C58D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72"/>
          <ac:spMkLst>
            <pc:docMk/>
            <pc:sldMk cId="1370533848" sldId="332"/>
            <ac:spMk id="80" creationId="{EB2894D6-F306-5EC2-7EA5-06583C19B8FC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74"/>
          <ac:spMkLst>
            <pc:docMk/>
            <pc:sldMk cId="1370533848" sldId="332"/>
            <ac:spMk id="81" creationId="{E12E1100-FB1E-3575-1F11-4C19C9728609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76"/>
          <ac:spMkLst>
            <pc:docMk/>
            <pc:sldMk cId="1370533848" sldId="332"/>
            <ac:spMk id="82" creationId="{04A2AF22-17D8-BE28-4E63-482D781B7A95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78"/>
          <ac:spMkLst>
            <pc:docMk/>
            <pc:sldMk cId="1370533848" sldId="332"/>
            <ac:spMk id="83" creationId="{E500CB58-F6D2-6B44-8EF0-947DE072BA9D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80"/>
          <ac:spMkLst>
            <pc:docMk/>
            <pc:sldMk cId="1370533848" sldId="332"/>
            <ac:spMk id="85" creationId="{8738C6E2-94CE-A441-AD49-32D97EC0471F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82"/>
          <ac:spMkLst>
            <pc:docMk/>
            <pc:sldMk cId="1370533848" sldId="332"/>
            <ac:spMk id="86" creationId="{D4081F3B-9560-B202-D74E-E19C2EA03B8B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84"/>
          <ac:spMkLst>
            <pc:docMk/>
            <pc:sldMk cId="1370533848" sldId="332"/>
            <ac:spMk id="87" creationId="{5751384F-382D-2401-B40A-C66738DD5F4D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86"/>
          <ac:spMkLst>
            <pc:docMk/>
            <pc:sldMk cId="1370533848" sldId="332"/>
            <ac:spMk id="88" creationId="{FC214815-F9F8-BC95-ED99-3931B0F4AC32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88"/>
          <ac:spMkLst>
            <pc:docMk/>
            <pc:sldMk cId="1370533848" sldId="332"/>
            <ac:spMk id="89" creationId="{F0EA2F4A-AACB-9440-294F-688F59EDC439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90"/>
          <ac:spMkLst>
            <pc:docMk/>
            <pc:sldMk cId="1370533848" sldId="332"/>
            <ac:spMk id="90" creationId="{86DD25C1-7F3B-2925-4367-8DC9406DD5EF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92"/>
          <ac:spMkLst>
            <pc:docMk/>
            <pc:sldMk cId="1370533848" sldId="332"/>
            <ac:spMk id="91" creationId="{4FC6DC85-C224-AE3D-676F-FAB7408D905F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94"/>
          <ac:spMkLst>
            <pc:docMk/>
            <pc:sldMk cId="1370533848" sldId="332"/>
            <ac:spMk id="92" creationId="{F57B5776-BD97-1916-5D77-AB4E5A250EE6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96"/>
          <ac:spMkLst>
            <pc:docMk/>
            <pc:sldMk cId="1370533848" sldId="332"/>
            <ac:spMk id="93" creationId="{CCD2E6F1-AA4C-5DF4-26F3-D364775904D2}"/>
          </ac:spMkLst>
        </pc:spChg>
        <pc:spChg chg="mod ord">
          <ac:chgData name="Jacobo de Nicolás Nuñez" userId="7c6829d1-1bf6-4417-b4a9-02cb8827630e" providerId="ADAL" clId="{24FFA3A1-9083-4218-BD16-418FC2A97160}" dt="2025-04-16T11:16:45.555" v="198"/>
          <ac:spMkLst>
            <pc:docMk/>
            <pc:sldMk cId="1370533848" sldId="332"/>
            <ac:spMk id="94" creationId="{F653E235-F603-8125-8FEC-6E47E4D53E07}"/>
          </ac:spMkLst>
        </pc:spChg>
        <pc:spChg chg="mod ord">
          <ac:chgData name="Jacobo de Nicolás Nuñez" userId="7c6829d1-1bf6-4417-b4a9-02cb8827630e" providerId="ADAL" clId="{24FFA3A1-9083-4218-BD16-418FC2A97160}" dt="2025-04-16T11:16:45.555" v="200"/>
          <ac:spMkLst>
            <pc:docMk/>
            <pc:sldMk cId="1370533848" sldId="332"/>
            <ac:spMk id="95" creationId="{F3002A19-DFE9-3537-D122-FC973853B9A3}"/>
          </ac:spMkLst>
        </pc:spChg>
        <pc:spChg chg="mod ord">
          <ac:chgData name="Jacobo de Nicolás Nuñez" userId="7c6829d1-1bf6-4417-b4a9-02cb8827630e" providerId="ADAL" clId="{24FFA3A1-9083-4218-BD16-418FC2A97160}" dt="2025-04-16T11:16:45.555" v="206"/>
          <ac:spMkLst>
            <pc:docMk/>
            <pc:sldMk cId="1370533848" sldId="332"/>
            <ac:spMk id="99" creationId="{497E3A5A-11AD-6D72-AC50-CD9811F18090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08"/>
          <ac:spMkLst>
            <pc:docMk/>
            <pc:sldMk cId="1370533848" sldId="332"/>
            <ac:spMk id="100" creationId="{AECF7937-7278-0F3A-1BBA-B3F343F47697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10"/>
          <ac:spMkLst>
            <pc:docMk/>
            <pc:sldMk cId="1370533848" sldId="332"/>
            <ac:spMk id="101" creationId="{61E6C159-411B-2419-A090-0672FDCDC4C3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12"/>
          <ac:spMkLst>
            <pc:docMk/>
            <pc:sldMk cId="1370533848" sldId="332"/>
            <ac:spMk id="102" creationId="{BCD7AF09-6819-43B4-6EF1-D55E16407A5E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14"/>
          <ac:spMkLst>
            <pc:docMk/>
            <pc:sldMk cId="1370533848" sldId="332"/>
            <ac:spMk id="103" creationId="{2132D86F-AA69-6105-CFF4-57350FB2BD13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28"/>
          <ac:spMkLst>
            <pc:docMk/>
            <pc:sldMk cId="1370533848" sldId="332"/>
            <ac:spMk id="112" creationId="{BA226BF4-8617-B121-1047-BCD6ADAF79F7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30"/>
          <ac:spMkLst>
            <pc:docMk/>
            <pc:sldMk cId="1370533848" sldId="332"/>
            <ac:spMk id="114" creationId="{858C3AB1-CF69-21D8-994A-1E34E85DEE38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32"/>
          <ac:spMkLst>
            <pc:docMk/>
            <pc:sldMk cId="1370533848" sldId="332"/>
            <ac:spMk id="115" creationId="{A5FD7797-1D57-262C-9B48-C09E181A5C95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34"/>
          <ac:spMkLst>
            <pc:docMk/>
            <pc:sldMk cId="1370533848" sldId="332"/>
            <ac:spMk id="116" creationId="{CC38C3BD-CB2B-A9EC-D6C7-425A3E5B4625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38"/>
          <ac:spMkLst>
            <pc:docMk/>
            <pc:sldMk cId="1370533848" sldId="332"/>
            <ac:spMk id="119" creationId="{B6EB9DFD-CF23-3A00-C741-80F80E44E612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40"/>
          <ac:spMkLst>
            <pc:docMk/>
            <pc:sldMk cId="1370533848" sldId="332"/>
            <ac:spMk id="120" creationId="{A77AF98E-9C5F-E833-E350-C7F5257901AD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42"/>
          <ac:spMkLst>
            <pc:docMk/>
            <pc:sldMk cId="1370533848" sldId="332"/>
            <ac:spMk id="121" creationId="{3A66836D-D249-46DC-0A86-F79A971334F0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44"/>
          <ac:spMkLst>
            <pc:docMk/>
            <pc:sldMk cId="1370533848" sldId="332"/>
            <ac:spMk id="122" creationId="{1DE6F07D-22C5-AA15-3EFF-12EF04ED8419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46"/>
          <ac:spMkLst>
            <pc:docMk/>
            <pc:sldMk cId="1370533848" sldId="332"/>
            <ac:spMk id="123" creationId="{13E0E014-D08B-CBA3-6CF6-00B3EB40C3FC}"/>
          </ac:spMkLst>
        </pc:spChg>
        <pc:spChg chg="mod ord">
          <ac:chgData name="Jacobo de Nicolás Nuñez" userId="7c6829d1-1bf6-4417-b4a9-02cb8827630e" providerId="ADAL" clId="{24FFA3A1-9083-4218-BD16-418FC2A97160}" dt="2025-04-16T11:16:45.570" v="248"/>
          <ac:spMkLst>
            <pc:docMk/>
            <pc:sldMk cId="1370533848" sldId="332"/>
            <ac:spMk id="124" creationId="{58855B75-B178-B8BE-0103-AFF5007380E8}"/>
          </ac:spMkLst>
        </pc:spChg>
        <pc:grpChg chg="mod ord">
          <ac:chgData name="Jacobo de Nicolás Nuñez" userId="7c6829d1-1bf6-4417-b4a9-02cb8827630e" providerId="ADAL" clId="{24FFA3A1-9083-4218-BD16-418FC2A97160}" dt="2025-04-16T11:16:45.536" v="122"/>
          <ac:grpSpMkLst>
            <pc:docMk/>
            <pc:sldMk cId="1370533848" sldId="332"/>
            <ac:grpSpMk id="10" creationId="{7266E573-1798-428A-A392-3E1BB714B573}"/>
          </ac:grpSpMkLst>
        </pc:grpChg>
        <pc:graphicFrameChg chg="add mod ord modVis">
          <ac:chgData name="Jacobo de Nicolás Nuñez" userId="7c6829d1-1bf6-4417-b4a9-02cb8827630e" providerId="ADAL" clId="{24FFA3A1-9083-4218-BD16-418FC2A97160}" dt="2025-04-16T11:16:45.832" v="264"/>
          <ac:graphicFrameMkLst>
            <pc:docMk/>
            <pc:sldMk cId="1370533848" sldId="332"/>
            <ac:graphicFrameMk id="12" creationId="{83D807FB-D50C-D48B-1520-90281F302253}"/>
          </ac:graphicFrameMkLst>
        </pc:graphicFrameChg>
        <pc:picChg chg="add mod ord">
          <ac:chgData name="Jacobo de Nicolás Nuñez" userId="7c6829d1-1bf6-4417-b4a9-02cb8827630e" providerId="ADAL" clId="{24FFA3A1-9083-4218-BD16-418FC2A97160}" dt="2025-04-23T08:43:59.051" v="438" actId="14100"/>
          <ac:picMkLst>
            <pc:docMk/>
            <pc:sldMk cId="1370533848" sldId="332"/>
            <ac:picMk id="6" creationId="{77B6F6F7-ACF4-57D3-6652-9202460578F5}"/>
          </ac:picMkLst>
        </pc:picChg>
        <pc:picChg chg="mod ord">
          <ac:chgData name="Jacobo de Nicolás Nuñez" userId="7c6829d1-1bf6-4417-b4a9-02cb8827630e" providerId="ADAL" clId="{24FFA3A1-9083-4218-BD16-418FC2A97160}" dt="2025-04-23T08:43:59.051" v="438" actId="14100"/>
          <ac:picMkLst>
            <pc:docMk/>
            <pc:sldMk cId="1370533848" sldId="332"/>
            <ac:picMk id="11" creationId="{3362661E-80EC-A6AB-4EB0-22CD770BE182}"/>
          </ac:picMkLst>
        </pc:picChg>
        <pc:picChg chg="mod ord">
          <ac:chgData name="Jacobo de Nicolás Nuñez" userId="7c6829d1-1bf6-4417-b4a9-02cb8827630e" providerId="ADAL" clId="{24FFA3A1-9083-4218-BD16-418FC2A97160}" dt="2025-04-23T08:43:59.051" v="438" actId="14100"/>
          <ac:picMkLst>
            <pc:docMk/>
            <pc:sldMk cId="1370533848" sldId="332"/>
            <ac:picMk id="97" creationId="{DEC8F7B5-324C-80F0-0835-00673F8F2530}"/>
          </ac:picMkLst>
        </pc:picChg>
        <pc:picChg chg="mod ord">
          <ac:chgData name="Jacobo de Nicolás Nuñez" userId="7c6829d1-1bf6-4417-b4a9-02cb8827630e" providerId="ADAL" clId="{24FFA3A1-9083-4218-BD16-418FC2A97160}" dt="2025-04-23T12:10:40.909" v="1078" actId="1076"/>
          <ac:picMkLst>
            <pc:docMk/>
            <pc:sldMk cId="1370533848" sldId="332"/>
            <ac:picMk id="98" creationId="{0799EA8E-0FF7-B762-B206-82654F3DB5C5}"/>
          </ac:picMkLst>
        </pc:picChg>
        <pc:picChg chg="mod ord">
          <ac:chgData name="Jacobo de Nicolás Nuñez" userId="7c6829d1-1bf6-4417-b4a9-02cb8827630e" providerId="ADAL" clId="{24FFA3A1-9083-4218-BD16-418FC2A97160}" dt="2025-04-23T08:43:59.051" v="438" actId="14100"/>
          <ac:picMkLst>
            <pc:docMk/>
            <pc:sldMk cId="1370533848" sldId="332"/>
            <ac:picMk id="104" creationId="{E6985A3A-C8EA-317D-7673-E38900883F72}"/>
          </ac:picMkLst>
        </pc:picChg>
        <pc:picChg chg="mod ord">
          <ac:chgData name="Jacobo de Nicolás Nuñez" userId="7c6829d1-1bf6-4417-b4a9-02cb8827630e" providerId="ADAL" clId="{24FFA3A1-9083-4218-BD16-418FC2A97160}" dt="2025-04-23T08:43:59.051" v="438" actId="14100"/>
          <ac:picMkLst>
            <pc:docMk/>
            <pc:sldMk cId="1370533848" sldId="332"/>
            <ac:picMk id="105" creationId="{2B81023F-3371-6948-FB1E-6E0187C816A9}"/>
          </ac:picMkLst>
        </pc:picChg>
        <pc:picChg chg="mod ord">
          <ac:chgData name="Jacobo de Nicolás Nuñez" userId="7c6829d1-1bf6-4417-b4a9-02cb8827630e" providerId="ADAL" clId="{24FFA3A1-9083-4218-BD16-418FC2A97160}" dt="2025-04-23T07:58:50.800" v="418" actId="14100"/>
          <ac:picMkLst>
            <pc:docMk/>
            <pc:sldMk cId="1370533848" sldId="332"/>
            <ac:picMk id="106" creationId="{552C0CA8-82E4-AAF0-F859-1058D9D40D2D}"/>
          </ac:picMkLst>
        </pc:picChg>
        <pc:picChg chg="mod ord">
          <ac:chgData name="Jacobo de Nicolás Nuñez" userId="7c6829d1-1bf6-4417-b4a9-02cb8827630e" providerId="ADAL" clId="{24FFA3A1-9083-4218-BD16-418FC2A97160}" dt="2025-04-23T12:08:07.325" v="1072" actId="14100"/>
          <ac:picMkLst>
            <pc:docMk/>
            <pc:sldMk cId="1370533848" sldId="332"/>
            <ac:picMk id="109" creationId="{E73D836F-3331-1789-3521-7A56294D61DE}"/>
          </ac:picMkLst>
        </pc:picChg>
        <pc:picChg chg="mod ord">
          <ac:chgData name="Jacobo de Nicolás Nuñez" userId="7c6829d1-1bf6-4417-b4a9-02cb8827630e" providerId="ADAL" clId="{24FFA3A1-9083-4218-BD16-418FC2A97160}" dt="2025-04-23T08:43:59.051" v="438" actId="14100"/>
          <ac:picMkLst>
            <pc:docMk/>
            <pc:sldMk cId="1370533848" sldId="332"/>
            <ac:picMk id="110" creationId="{6624F751-E0F2-B923-EFE5-28F0B1F8B3AC}"/>
          </ac:picMkLst>
        </pc:picChg>
        <pc:picChg chg="mod ord">
          <ac:chgData name="Jacobo de Nicolás Nuñez" userId="7c6829d1-1bf6-4417-b4a9-02cb8827630e" providerId="ADAL" clId="{24FFA3A1-9083-4218-BD16-418FC2A97160}" dt="2025-04-23T08:43:59.051" v="438" actId="14100"/>
          <ac:picMkLst>
            <pc:docMk/>
            <pc:sldMk cId="1370533848" sldId="332"/>
            <ac:picMk id="111" creationId="{F8DFD7CA-8C05-27E8-4E53-68BCEDC68DF4}"/>
          </ac:picMkLst>
        </pc:picChg>
        <pc:picChg chg="mod ord">
          <ac:chgData name="Jacobo de Nicolás Nuñez" userId="7c6829d1-1bf6-4417-b4a9-02cb8827630e" providerId="ADAL" clId="{24FFA3A1-9083-4218-BD16-418FC2A97160}" dt="2025-04-23T08:43:59.051" v="438" actId="14100"/>
          <ac:picMkLst>
            <pc:docMk/>
            <pc:sldMk cId="1370533848" sldId="332"/>
            <ac:picMk id="118" creationId="{F53A9CC2-8A5D-1B30-2D92-58DDD96E79CA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2:04:07.112" v="1057" actId="14826"/>
        <pc:sldMkLst>
          <pc:docMk/>
          <pc:sldMk cId="3002347597" sldId="335"/>
        </pc:sldMkLst>
        <pc:picChg chg="mod">
          <ac:chgData name="Jacobo de Nicolás Nuñez" userId="7c6829d1-1bf6-4417-b4a9-02cb8827630e" providerId="ADAL" clId="{24FFA3A1-9083-4218-BD16-418FC2A97160}" dt="2025-04-23T12:04:07.112" v="1057" actId="14826"/>
          <ac:picMkLst>
            <pc:docMk/>
            <pc:sldMk cId="3002347597" sldId="335"/>
            <ac:picMk id="48" creationId="{DDA39949-7AC4-F297-7C3B-CD95FE44DC01}"/>
          </ac:picMkLst>
        </pc:picChg>
        <pc:picChg chg="mod">
          <ac:chgData name="Jacobo de Nicolás Nuñez" userId="7c6829d1-1bf6-4417-b4a9-02cb8827630e" providerId="ADAL" clId="{24FFA3A1-9083-4218-BD16-418FC2A97160}" dt="2025-04-23T09:10:35.313" v="664" actId="14100"/>
          <ac:picMkLst>
            <pc:docMk/>
            <pc:sldMk cId="3002347597" sldId="335"/>
            <ac:picMk id="49" creationId="{88C1BA55-8D75-EC45-6ED7-F6BD8B8FF645}"/>
          </ac:picMkLst>
        </pc:picChg>
        <pc:picChg chg="mod">
          <ac:chgData name="Jacobo de Nicolás Nuñez" userId="7c6829d1-1bf6-4417-b4a9-02cb8827630e" providerId="ADAL" clId="{24FFA3A1-9083-4218-BD16-418FC2A97160}" dt="2025-04-23T09:10:35.313" v="664" actId="14100"/>
          <ac:picMkLst>
            <pc:docMk/>
            <pc:sldMk cId="3002347597" sldId="335"/>
            <ac:picMk id="50" creationId="{729BBABA-F6C7-1400-8A62-509F507F3EC5}"/>
          </ac:picMkLst>
        </pc:picChg>
        <pc:picChg chg="mod">
          <ac:chgData name="Jacobo de Nicolás Nuñez" userId="7c6829d1-1bf6-4417-b4a9-02cb8827630e" providerId="ADAL" clId="{24FFA3A1-9083-4218-BD16-418FC2A97160}" dt="2025-04-23T09:10:35.313" v="664" actId="14100"/>
          <ac:picMkLst>
            <pc:docMk/>
            <pc:sldMk cId="3002347597" sldId="335"/>
            <ac:picMk id="52" creationId="{9E058CD2-6ECB-2F5C-5F64-2CB734CB189B}"/>
          </ac:picMkLst>
        </pc:picChg>
        <pc:picChg chg="mod">
          <ac:chgData name="Jacobo de Nicolás Nuñez" userId="7c6829d1-1bf6-4417-b4a9-02cb8827630e" providerId="ADAL" clId="{24FFA3A1-9083-4218-BD16-418FC2A97160}" dt="2025-04-23T09:10:35.313" v="664" actId="14100"/>
          <ac:picMkLst>
            <pc:docMk/>
            <pc:sldMk cId="3002347597" sldId="335"/>
            <ac:picMk id="53" creationId="{26619722-93C5-F6CE-D63C-749B627677CC}"/>
          </ac:picMkLst>
        </pc:picChg>
        <pc:picChg chg="mod">
          <ac:chgData name="Jacobo de Nicolás Nuñez" userId="7c6829d1-1bf6-4417-b4a9-02cb8827630e" providerId="ADAL" clId="{24FFA3A1-9083-4218-BD16-418FC2A97160}" dt="2025-04-23T09:10:35.313" v="664" actId="14100"/>
          <ac:picMkLst>
            <pc:docMk/>
            <pc:sldMk cId="3002347597" sldId="335"/>
            <ac:picMk id="57" creationId="{6ED92A10-17D5-A49C-9AF6-86070AAD391E}"/>
          </ac:picMkLst>
        </pc:picChg>
        <pc:picChg chg="mod">
          <ac:chgData name="Jacobo de Nicolás Nuñez" userId="7c6829d1-1bf6-4417-b4a9-02cb8827630e" providerId="ADAL" clId="{24FFA3A1-9083-4218-BD16-418FC2A97160}" dt="2025-04-23T09:10:35.313" v="664" actId="14100"/>
          <ac:picMkLst>
            <pc:docMk/>
            <pc:sldMk cId="3002347597" sldId="335"/>
            <ac:picMk id="62" creationId="{6F8E74D2-84F9-CFEF-456C-4BF26C748900}"/>
          </ac:picMkLst>
        </pc:picChg>
      </pc:sldChg>
      <pc:sldChg chg="addSp delSp modSp mod">
        <pc:chgData name="Jacobo de Nicolás Nuñez" userId="7c6829d1-1bf6-4417-b4a9-02cb8827630e" providerId="ADAL" clId="{24FFA3A1-9083-4218-BD16-418FC2A97160}" dt="2025-04-23T11:23:02.426" v="905" actId="1076"/>
        <pc:sldMkLst>
          <pc:docMk/>
          <pc:sldMk cId="3651036424" sldId="340"/>
        </pc:sldMkLst>
        <pc:spChg chg="mod ord">
          <ac:chgData name="Jacobo de Nicolás Nuñez" userId="7c6829d1-1bf6-4417-b4a9-02cb8827630e" providerId="ADAL" clId="{24FFA3A1-9083-4218-BD16-418FC2A97160}" dt="2025-04-23T11:16:36.082" v="820"/>
          <ac:spMkLst>
            <pc:docMk/>
            <pc:sldMk cId="3651036424" sldId="340"/>
            <ac:spMk id="2" creationId="{8D9BEE49-4687-4A81-A972-21AD9C5EA9CA}"/>
          </ac:spMkLst>
        </pc:spChg>
        <pc:spChg chg="mod ord">
          <ac:chgData name="Jacobo de Nicolás Nuñez" userId="7c6829d1-1bf6-4417-b4a9-02cb8827630e" providerId="ADAL" clId="{24FFA3A1-9083-4218-BD16-418FC2A97160}" dt="2025-04-23T11:16:36.082" v="822"/>
          <ac:spMkLst>
            <pc:docMk/>
            <pc:sldMk cId="3651036424" sldId="340"/>
            <ac:spMk id="3" creationId="{A5C93B73-E9CE-44B0-A142-9C6E62D29420}"/>
          </ac:spMkLst>
        </pc:spChg>
        <pc:spChg chg="mod ord">
          <ac:chgData name="Jacobo de Nicolás Nuñez" userId="7c6829d1-1bf6-4417-b4a9-02cb8827630e" providerId="ADAL" clId="{24FFA3A1-9083-4218-BD16-418FC2A97160}" dt="2025-04-23T11:16:36.082" v="826"/>
          <ac:spMkLst>
            <pc:docMk/>
            <pc:sldMk cId="3651036424" sldId="340"/>
            <ac:spMk id="6" creationId="{BB29B838-792A-4356-8513-23E2E128548F}"/>
          </ac:spMkLst>
        </pc:spChg>
        <pc:spChg chg="mod ord">
          <ac:chgData name="Jacobo de Nicolás Nuñez" userId="7c6829d1-1bf6-4417-b4a9-02cb8827630e" providerId="ADAL" clId="{24FFA3A1-9083-4218-BD16-418FC2A97160}" dt="2025-04-23T11:16:36.082" v="828"/>
          <ac:spMkLst>
            <pc:docMk/>
            <pc:sldMk cId="3651036424" sldId="340"/>
            <ac:spMk id="7" creationId="{21CAE1D9-0FAC-426E-A03C-EBE24C174929}"/>
          </ac:spMkLst>
        </pc:spChg>
        <pc:spChg chg="mod ord">
          <ac:chgData name="Jacobo de Nicolás Nuñez" userId="7c6829d1-1bf6-4417-b4a9-02cb8827630e" providerId="ADAL" clId="{24FFA3A1-9083-4218-BD16-418FC2A97160}" dt="2025-04-23T11:16:36.082" v="830"/>
          <ac:spMkLst>
            <pc:docMk/>
            <pc:sldMk cId="3651036424" sldId="340"/>
            <ac:spMk id="14" creationId="{8B5C6863-F6B1-4BB0-8E2B-0B95138F7169}"/>
          </ac:spMkLst>
        </pc:spChg>
        <pc:spChg chg="mod ord">
          <ac:chgData name="Jacobo de Nicolás Nuñez" userId="7c6829d1-1bf6-4417-b4a9-02cb8827630e" providerId="ADAL" clId="{24FFA3A1-9083-4218-BD16-418FC2A97160}" dt="2025-04-23T11:16:36.082" v="832"/>
          <ac:spMkLst>
            <pc:docMk/>
            <pc:sldMk cId="3651036424" sldId="340"/>
            <ac:spMk id="15" creationId="{B0C2F219-D088-45CF-94BA-2934A16E1539}"/>
          </ac:spMkLst>
        </pc:spChg>
        <pc:spChg chg="mod ord">
          <ac:chgData name="Jacobo de Nicolás Nuñez" userId="7c6829d1-1bf6-4417-b4a9-02cb8827630e" providerId="ADAL" clId="{24FFA3A1-9083-4218-BD16-418FC2A97160}" dt="2025-04-23T11:16:36.082" v="834"/>
          <ac:spMkLst>
            <pc:docMk/>
            <pc:sldMk cId="3651036424" sldId="340"/>
            <ac:spMk id="16" creationId="{9383DFC6-43D5-4A72-970E-B73DC3623454}"/>
          </ac:spMkLst>
        </pc:spChg>
        <pc:spChg chg="mod ord">
          <ac:chgData name="Jacobo de Nicolás Nuñez" userId="7c6829d1-1bf6-4417-b4a9-02cb8827630e" providerId="ADAL" clId="{24FFA3A1-9083-4218-BD16-418FC2A97160}" dt="2025-04-23T11:16:36.082" v="836"/>
          <ac:spMkLst>
            <pc:docMk/>
            <pc:sldMk cId="3651036424" sldId="340"/>
            <ac:spMk id="18" creationId="{3939CD65-7865-458A-B8AD-BC07EFDDC016}"/>
          </ac:spMkLst>
        </pc:spChg>
        <pc:spChg chg="mod ord">
          <ac:chgData name="Jacobo de Nicolás Nuñez" userId="7c6829d1-1bf6-4417-b4a9-02cb8827630e" providerId="ADAL" clId="{24FFA3A1-9083-4218-BD16-418FC2A97160}" dt="2025-04-23T11:16:36.082" v="838"/>
          <ac:spMkLst>
            <pc:docMk/>
            <pc:sldMk cId="3651036424" sldId="340"/>
            <ac:spMk id="19" creationId="{F439C2E8-F540-451D-A8BF-405360C7A62D}"/>
          </ac:spMkLst>
        </pc:spChg>
        <pc:spChg chg="mod ord">
          <ac:chgData name="Jacobo de Nicolás Nuñez" userId="7c6829d1-1bf6-4417-b4a9-02cb8827630e" providerId="ADAL" clId="{24FFA3A1-9083-4218-BD16-418FC2A97160}" dt="2025-04-23T11:16:36.098" v="840"/>
          <ac:spMkLst>
            <pc:docMk/>
            <pc:sldMk cId="3651036424" sldId="340"/>
            <ac:spMk id="21" creationId="{CF36F158-AD23-45C1-BC2B-A553A21486FB}"/>
          </ac:spMkLst>
        </pc:spChg>
        <pc:spChg chg="mod ord">
          <ac:chgData name="Jacobo de Nicolás Nuñez" userId="7c6829d1-1bf6-4417-b4a9-02cb8827630e" providerId="ADAL" clId="{24FFA3A1-9083-4218-BD16-418FC2A97160}" dt="2025-04-23T11:16:36.100" v="842"/>
          <ac:spMkLst>
            <pc:docMk/>
            <pc:sldMk cId="3651036424" sldId="340"/>
            <ac:spMk id="22" creationId="{C8288C05-5AB8-40CE-BEB1-0D54C70CA60A}"/>
          </ac:spMkLst>
        </pc:spChg>
        <pc:spChg chg="mod ord">
          <ac:chgData name="Jacobo de Nicolás Nuñez" userId="7c6829d1-1bf6-4417-b4a9-02cb8827630e" providerId="ADAL" clId="{24FFA3A1-9083-4218-BD16-418FC2A97160}" dt="2025-04-23T11:16:36.100" v="844"/>
          <ac:spMkLst>
            <pc:docMk/>
            <pc:sldMk cId="3651036424" sldId="340"/>
            <ac:spMk id="23" creationId="{6C5B209B-A414-4080-A31C-EA53A404B1CC}"/>
          </ac:spMkLst>
        </pc:spChg>
        <pc:spChg chg="mod ord">
          <ac:chgData name="Jacobo de Nicolás Nuñez" userId="7c6829d1-1bf6-4417-b4a9-02cb8827630e" providerId="ADAL" clId="{24FFA3A1-9083-4218-BD16-418FC2A97160}" dt="2025-04-23T11:16:36.100" v="846"/>
          <ac:spMkLst>
            <pc:docMk/>
            <pc:sldMk cId="3651036424" sldId="340"/>
            <ac:spMk id="26" creationId="{CE3C1387-E510-42C2-8F00-623285E19F8A}"/>
          </ac:spMkLst>
        </pc:spChg>
        <pc:spChg chg="mod ord">
          <ac:chgData name="Jacobo de Nicolás Nuñez" userId="7c6829d1-1bf6-4417-b4a9-02cb8827630e" providerId="ADAL" clId="{24FFA3A1-9083-4218-BD16-418FC2A97160}" dt="2025-04-23T11:16:36.082" v="824"/>
          <ac:spMkLst>
            <pc:docMk/>
            <pc:sldMk cId="3651036424" sldId="340"/>
            <ac:spMk id="27" creationId="{AD03A020-D69F-2C36-1A13-EA6382328E4D}"/>
          </ac:spMkLst>
        </pc:spChg>
        <pc:spChg chg="mod ord">
          <ac:chgData name="Jacobo de Nicolás Nuñez" userId="7c6829d1-1bf6-4417-b4a9-02cb8827630e" providerId="ADAL" clId="{24FFA3A1-9083-4218-BD16-418FC2A97160}" dt="2025-04-23T11:16:36.100" v="848"/>
          <ac:spMkLst>
            <pc:docMk/>
            <pc:sldMk cId="3651036424" sldId="340"/>
            <ac:spMk id="28" creationId="{A345644D-7D7F-4BB2-84EB-74D9B54E05DD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50"/>
          <ac:spMkLst>
            <pc:docMk/>
            <pc:sldMk cId="3651036424" sldId="340"/>
            <ac:spMk id="30" creationId="{1F7E22F8-6B95-C012-E690-42A7F2044BE7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52"/>
          <ac:spMkLst>
            <pc:docMk/>
            <pc:sldMk cId="3651036424" sldId="340"/>
            <ac:spMk id="34" creationId="{88EC797C-C15E-400A-79FD-095F8F43DF15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54"/>
          <ac:spMkLst>
            <pc:docMk/>
            <pc:sldMk cId="3651036424" sldId="340"/>
            <ac:spMk id="35" creationId="{2759F0A6-2B10-B4F4-6978-D06C110BAF27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56"/>
          <ac:spMkLst>
            <pc:docMk/>
            <pc:sldMk cId="3651036424" sldId="340"/>
            <ac:spMk id="36" creationId="{4BD3B3E1-54F5-A6D5-0835-25344A20CACC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58"/>
          <ac:spMkLst>
            <pc:docMk/>
            <pc:sldMk cId="3651036424" sldId="340"/>
            <ac:spMk id="37" creationId="{66F88CA2-7024-F81C-50B0-7B39FAF2B123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60"/>
          <ac:spMkLst>
            <pc:docMk/>
            <pc:sldMk cId="3651036424" sldId="340"/>
            <ac:spMk id="38" creationId="{41F158EC-14B2-1BDD-86B2-C6BCA0DA667E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64"/>
          <ac:spMkLst>
            <pc:docMk/>
            <pc:sldMk cId="3651036424" sldId="340"/>
            <ac:spMk id="49" creationId="{5DC6604A-67F9-7626-9DD5-E96368673D43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66"/>
          <ac:spMkLst>
            <pc:docMk/>
            <pc:sldMk cId="3651036424" sldId="340"/>
            <ac:spMk id="50" creationId="{B38DDB69-59BF-E364-1E82-CEBD15C61AB6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68"/>
          <ac:spMkLst>
            <pc:docMk/>
            <pc:sldMk cId="3651036424" sldId="340"/>
            <ac:spMk id="51" creationId="{D4257775-EA27-F497-0FD7-DF323254FED0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70"/>
          <ac:spMkLst>
            <pc:docMk/>
            <pc:sldMk cId="3651036424" sldId="340"/>
            <ac:spMk id="52" creationId="{68BF826D-A708-B00D-730F-CF7EE11F7DAC}"/>
          </ac:spMkLst>
        </pc:spChg>
        <pc:spChg chg="mod ord">
          <ac:chgData name="Jacobo de Nicolás Nuñez" userId="7c6829d1-1bf6-4417-b4a9-02cb8827630e" providerId="ADAL" clId="{24FFA3A1-9083-4218-BD16-418FC2A97160}" dt="2025-04-23T11:16:36.105" v="872"/>
          <ac:spMkLst>
            <pc:docMk/>
            <pc:sldMk cId="3651036424" sldId="340"/>
            <ac:spMk id="53" creationId="{3A17AACB-500C-896D-E343-F38AC9195F20}"/>
          </ac:spMkLst>
        </pc:spChg>
        <pc:spChg chg="mod ord">
          <ac:chgData name="Jacobo de Nicolás Nuñez" userId="7c6829d1-1bf6-4417-b4a9-02cb8827630e" providerId="ADAL" clId="{24FFA3A1-9083-4218-BD16-418FC2A97160}" dt="2025-04-23T11:16:36.121" v="874"/>
          <ac:spMkLst>
            <pc:docMk/>
            <pc:sldMk cId="3651036424" sldId="340"/>
            <ac:spMk id="54" creationId="{D897BEFE-BDEA-C249-F49B-D4FEF07DF265}"/>
          </ac:spMkLst>
        </pc:spChg>
        <pc:spChg chg="mod ord">
          <ac:chgData name="Jacobo de Nicolás Nuñez" userId="7c6829d1-1bf6-4417-b4a9-02cb8827630e" providerId="ADAL" clId="{24FFA3A1-9083-4218-BD16-418FC2A97160}" dt="2025-04-23T11:16:36.123" v="876"/>
          <ac:spMkLst>
            <pc:docMk/>
            <pc:sldMk cId="3651036424" sldId="340"/>
            <ac:spMk id="55" creationId="{4D71062A-D68B-5832-EAEA-7EDF52DAAF5F}"/>
          </ac:spMkLst>
        </pc:spChg>
        <pc:spChg chg="mod ord">
          <ac:chgData name="Jacobo de Nicolás Nuñez" userId="7c6829d1-1bf6-4417-b4a9-02cb8827630e" providerId="ADAL" clId="{24FFA3A1-9083-4218-BD16-418FC2A97160}" dt="2025-04-23T11:16:36.124" v="878"/>
          <ac:spMkLst>
            <pc:docMk/>
            <pc:sldMk cId="3651036424" sldId="340"/>
            <ac:spMk id="56" creationId="{A4F8CA04-533F-67A6-18A1-32A3F2E5ACE3}"/>
          </ac:spMkLst>
        </pc:spChg>
        <pc:spChg chg="mod ord">
          <ac:chgData name="Jacobo de Nicolás Nuñez" userId="7c6829d1-1bf6-4417-b4a9-02cb8827630e" providerId="ADAL" clId="{24FFA3A1-9083-4218-BD16-418FC2A97160}" dt="2025-04-23T11:16:36.125" v="880"/>
          <ac:spMkLst>
            <pc:docMk/>
            <pc:sldMk cId="3651036424" sldId="340"/>
            <ac:spMk id="58" creationId="{99AB28CC-E077-9794-043A-40DE48CE8024}"/>
          </ac:spMkLst>
        </pc:spChg>
        <pc:graphicFrameChg chg="add mod ord modVis">
          <ac:chgData name="Jacobo de Nicolás Nuñez" userId="7c6829d1-1bf6-4417-b4a9-02cb8827630e" providerId="ADAL" clId="{24FFA3A1-9083-4218-BD16-418FC2A97160}" dt="2025-04-23T11:16:36.125" v="882"/>
          <ac:graphicFrameMkLst>
            <pc:docMk/>
            <pc:sldMk cId="3651036424" sldId="340"/>
            <ac:graphicFrameMk id="8" creationId="{76B36B24-74AE-C6DF-663C-C410D89A91EF}"/>
          </ac:graphicFrameMkLst>
        </pc:graphicFrameChg>
        <pc:picChg chg="mod ord">
          <ac:chgData name="Jacobo de Nicolás Nuñez" userId="7c6829d1-1bf6-4417-b4a9-02cb8827630e" providerId="ADAL" clId="{24FFA3A1-9083-4218-BD16-418FC2A97160}" dt="2025-04-23T11:16:36.082" v="818"/>
          <ac:picMkLst>
            <pc:docMk/>
            <pc:sldMk cId="3651036424" sldId="340"/>
            <ac:picMk id="4" creationId="{201680FB-0A91-9CFB-E35A-4472160B1CE0}"/>
          </ac:picMkLst>
        </pc:picChg>
        <pc:picChg chg="add mod ord">
          <ac:chgData name="Jacobo de Nicolás Nuñez" userId="7c6829d1-1bf6-4417-b4a9-02cb8827630e" providerId="ADAL" clId="{24FFA3A1-9083-4218-BD16-418FC2A97160}" dt="2025-04-23T11:16:36.067" v="806"/>
          <ac:picMkLst>
            <pc:docMk/>
            <pc:sldMk cId="3651036424" sldId="340"/>
            <ac:picMk id="5" creationId="{7C42DE92-8C9B-91D7-F3A3-B461E1B99AEA}"/>
          </ac:picMkLst>
        </pc:picChg>
        <pc:picChg chg="add del mod">
          <ac:chgData name="Jacobo de Nicolás Nuñez" userId="7c6829d1-1bf6-4417-b4a9-02cb8827630e" providerId="ADAL" clId="{24FFA3A1-9083-4218-BD16-418FC2A97160}" dt="2025-04-23T11:17:18.255" v="892" actId="478"/>
          <ac:picMkLst>
            <pc:docMk/>
            <pc:sldMk cId="3651036424" sldId="340"/>
            <ac:picMk id="9" creationId="{5C320ABF-3CCF-7BA4-48BC-662CBC21EF91}"/>
          </ac:picMkLst>
        </pc:picChg>
        <pc:picChg chg="mod ord">
          <ac:chgData name="Jacobo de Nicolás Nuñez" userId="7c6829d1-1bf6-4417-b4a9-02cb8827630e" providerId="ADAL" clId="{24FFA3A1-9083-4218-BD16-418FC2A97160}" dt="2025-04-23T11:22:54.869" v="902" actId="1076"/>
          <ac:picMkLst>
            <pc:docMk/>
            <pc:sldMk cId="3651036424" sldId="340"/>
            <ac:picMk id="39" creationId="{A19005DB-F7DC-7205-7A38-E887525CF86D}"/>
          </ac:picMkLst>
        </pc:picChg>
        <pc:picChg chg="mod ord">
          <ac:chgData name="Jacobo de Nicolás Nuñez" userId="7c6829d1-1bf6-4417-b4a9-02cb8827630e" providerId="ADAL" clId="{24FFA3A1-9083-4218-BD16-418FC2A97160}" dt="2025-04-23T11:16:36.075" v="810"/>
          <ac:picMkLst>
            <pc:docMk/>
            <pc:sldMk cId="3651036424" sldId="340"/>
            <ac:picMk id="40" creationId="{E2582EDD-00EC-5031-D74C-1F36680F4614}"/>
          </ac:picMkLst>
        </pc:picChg>
        <pc:picChg chg="mod ord">
          <ac:chgData name="Jacobo de Nicolás Nuñez" userId="7c6829d1-1bf6-4417-b4a9-02cb8827630e" providerId="ADAL" clId="{24FFA3A1-9083-4218-BD16-418FC2A97160}" dt="2025-04-23T11:22:50.109" v="900" actId="1076"/>
          <ac:picMkLst>
            <pc:docMk/>
            <pc:sldMk cId="3651036424" sldId="340"/>
            <ac:picMk id="41" creationId="{4B6558E4-8DD1-7B86-9099-B2C3A4DE0F04}"/>
          </ac:picMkLst>
        </pc:picChg>
        <pc:picChg chg="mod ord">
          <ac:chgData name="Jacobo de Nicolás Nuñez" userId="7c6829d1-1bf6-4417-b4a9-02cb8827630e" providerId="ADAL" clId="{24FFA3A1-9083-4218-BD16-418FC2A97160}" dt="2025-04-23T11:22:31.942" v="896" actId="14100"/>
          <ac:picMkLst>
            <pc:docMk/>
            <pc:sldMk cId="3651036424" sldId="340"/>
            <ac:picMk id="42" creationId="{A716CD22-B07F-560D-2AC0-8AAAF901399C}"/>
          </ac:picMkLst>
        </pc:picChg>
        <pc:picChg chg="mod ord">
          <ac:chgData name="Jacobo de Nicolás Nuñez" userId="7c6829d1-1bf6-4417-b4a9-02cb8827630e" providerId="ADAL" clId="{24FFA3A1-9083-4218-BD16-418FC2A97160}" dt="2025-04-23T11:16:36.067" v="804"/>
          <ac:picMkLst>
            <pc:docMk/>
            <pc:sldMk cId="3651036424" sldId="340"/>
            <ac:picMk id="44" creationId="{F7A606D8-A38D-A2BE-8120-FF80A4A3E1D6}"/>
          </ac:picMkLst>
        </pc:picChg>
        <pc:picChg chg="mod ord">
          <ac:chgData name="Jacobo de Nicolás Nuñez" userId="7c6829d1-1bf6-4417-b4a9-02cb8827630e" providerId="ADAL" clId="{24FFA3A1-9083-4218-BD16-418FC2A97160}" dt="2025-04-23T11:17:24.794" v="895" actId="1076"/>
          <ac:picMkLst>
            <pc:docMk/>
            <pc:sldMk cId="3651036424" sldId="340"/>
            <ac:picMk id="46" creationId="{AA1E03A8-E3A5-EF77-CEC0-ADECFABB6EE0}"/>
          </ac:picMkLst>
        </pc:picChg>
        <pc:picChg chg="mod ord">
          <ac:chgData name="Jacobo de Nicolás Nuñez" userId="7c6829d1-1bf6-4417-b4a9-02cb8827630e" providerId="ADAL" clId="{24FFA3A1-9083-4218-BD16-418FC2A97160}" dt="2025-04-23T11:23:02.426" v="905" actId="1076"/>
          <ac:picMkLst>
            <pc:docMk/>
            <pc:sldMk cId="3651036424" sldId="340"/>
            <ac:picMk id="57" creationId="{80DF902E-E50B-6E42-02F3-E33C62FAB385}"/>
          </ac:picMkLst>
        </pc:picChg>
      </pc:sldChg>
      <pc:sldChg chg="addSp modSp mod">
        <pc:chgData name="Jacobo de Nicolás Nuñez" userId="7c6829d1-1bf6-4417-b4a9-02cb8827630e" providerId="ADAL" clId="{24FFA3A1-9083-4218-BD16-418FC2A97160}" dt="2025-04-23T12:01:39.377" v="1051"/>
        <pc:sldMkLst>
          <pc:docMk/>
          <pc:sldMk cId="518256622" sldId="342"/>
        </pc:sldMkLst>
        <pc:spChg chg="mod ord">
          <ac:chgData name="Jacobo de Nicolás Nuñez" userId="7c6829d1-1bf6-4417-b4a9-02cb8827630e" providerId="ADAL" clId="{24FFA3A1-9083-4218-BD16-418FC2A97160}" dt="2025-04-23T12:01:39.196" v="995"/>
          <ac:spMkLst>
            <pc:docMk/>
            <pc:sldMk cId="518256622" sldId="342"/>
            <ac:spMk id="2" creationId="{8D9BEE49-4687-4A81-A972-21AD9C5EA9CA}"/>
          </ac:spMkLst>
        </pc:spChg>
        <pc:spChg chg="mod ord">
          <ac:chgData name="Jacobo de Nicolás Nuñez" userId="7c6829d1-1bf6-4417-b4a9-02cb8827630e" providerId="ADAL" clId="{24FFA3A1-9083-4218-BD16-418FC2A97160}" dt="2025-04-23T12:01:39.196" v="997"/>
          <ac:spMkLst>
            <pc:docMk/>
            <pc:sldMk cId="518256622" sldId="342"/>
            <ac:spMk id="3" creationId="{A5C93B73-E9CE-44B0-A142-9C6E62D29420}"/>
          </ac:spMkLst>
        </pc:spChg>
        <pc:spChg chg="mod ord">
          <ac:chgData name="Jacobo de Nicolás Nuñez" userId="7c6829d1-1bf6-4417-b4a9-02cb8827630e" providerId="ADAL" clId="{24FFA3A1-9083-4218-BD16-418FC2A97160}" dt="2025-04-23T12:01:39.196" v="999"/>
          <ac:spMkLst>
            <pc:docMk/>
            <pc:sldMk cId="518256622" sldId="342"/>
            <ac:spMk id="4" creationId="{36D7B069-26F9-A00D-A59E-B5F998C40CBD}"/>
          </ac:spMkLst>
        </pc:spChg>
        <pc:spChg chg="mod ord">
          <ac:chgData name="Jacobo de Nicolás Nuñez" userId="7c6829d1-1bf6-4417-b4a9-02cb8827630e" providerId="ADAL" clId="{24FFA3A1-9083-4218-BD16-418FC2A97160}" dt="2025-04-23T12:01:39.213" v="1001"/>
          <ac:spMkLst>
            <pc:docMk/>
            <pc:sldMk cId="518256622" sldId="342"/>
            <ac:spMk id="8" creationId="{8B5C6863-F6B1-4BB0-8E2B-0B95138F7169}"/>
          </ac:spMkLst>
        </pc:spChg>
        <pc:spChg chg="mod ord">
          <ac:chgData name="Jacobo de Nicolás Nuñez" userId="7c6829d1-1bf6-4417-b4a9-02cb8827630e" providerId="ADAL" clId="{24FFA3A1-9083-4218-BD16-418FC2A97160}" dt="2025-04-23T12:01:39.213" v="1003"/>
          <ac:spMkLst>
            <pc:docMk/>
            <pc:sldMk cId="518256622" sldId="342"/>
            <ac:spMk id="10" creationId="{B0C2F219-D088-45CF-94BA-2934A16E1539}"/>
          </ac:spMkLst>
        </pc:spChg>
        <pc:spChg chg="mod ord">
          <ac:chgData name="Jacobo de Nicolás Nuñez" userId="7c6829d1-1bf6-4417-b4a9-02cb8827630e" providerId="ADAL" clId="{24FFA3A1-9083-4218-BD16-418FC2A97160}" dt="2025-04-23T12:01:39.213" v="1005"/>
          <ac:spMkLst>
            <pc:docMk/>
            <pc:sldMk cId="518256622" sldId="342"/>
            <ac:spMk id="11" creationId="{9383DFC6-43D5-4A72-970E-B73DC3623454}"/>
          </ac:spMkLst>
        </pc:spChg>
        <pc:spChg chg="mod ord">
          <ac:chgData name="Jacobo de Nicolás Nuñez" userId="7c6829d1-1bf6-4417-b4a9-02cb8827630e" providerId="ADAL" clId="{24FFA3A1-9083-4218-BD16-418FC2A97160}" dt="2025-04-23T12:01:39.213" v="1007"/>
          <ac:spMkLst>
            <pc:docMk/>
            <pc:sldMk cId="518256622" sldId="342"/>
            <ac:spMk id="13" creationId="{3939CD65-7865-458A-B8AD-BC07EFDDC016}"/>
          </ac:spMkLst>
        </pc:spChg>
        <pc:spChg chg="mod ord">
          <ac:chgData name="Jacobo de Nicolás Nuñez" userId="7c6829d1-1bf6-4417-b4a9-02cb8827630e" providerId="ADAL" clId="{24FFA3A1-9083-4218-BD16-418FC2A97160}" dt="2025-04-23T12:01:39.213" v="1009"/>
          <ac:spMkLst>
            <pc:docMk/>
            <pc:sldMk cId="518256622" sldId="342"/>
            <ac:spMk id="14" creationId="{D9102EE3-2742-4AF1-9620-03A8394BC406}"/>
          </ac:spMkLst>
        </pc:spChg>
        <pc:spChg chg="mod ord">
          <ac:chgData name="Jacobo de Nicolás Nuñez" userId="7c6829d1-1bf6-4417-b4a9-02cb8827630e" providerId="ADAL" clId="{24FFA3A1-9083-4218-BD16-418FC2A97160}" dt="2025-04-23T12:01:39.213" v="1011"/>
          <ac:spMkLst>
            <pc:docMk/>
            <pc:sldMk cId="518256622" sldId="342"/>
            <ac:spMk id="15" creationId="{116FC2A2-2462-4C1B-AA5D-7D905CD3BB27}"/>
          </ac:spMkLst>
        </pc:spChg>
        <pc:spChg chg="mod ord">
          <ac:chgData name="Jacobo de Nicolás Nuñez" userId="7c6829d1-1bf6-4417-b4a9-02cb8827630e" providerId="ADAL" clId="{24FFA3A1-9083-4218-BD16-418FC2A97160}" dt="2025-04-23T12:01:39.213" v="1013"/>
          <ac:spMkLst>
            <pc:docMk/>
            <pc:sldMk cId="518256622" sldId="342"/>
            <ac:spMk id="16" creationId="{F439C2E8-F540-451D-A8BF-405360C7A62D}"/>
          </ac:spMkLst>
        </pc:spChg>
        <pc:spChg chg="mod ord">
          <ac:chgData name="Jacobo de Nicolás Nuñez" userId="7c6829d1-1bf6-4417-b4a9-02cb8827630e" providerId="ADAL" clId="{24FFA3A1-9083-4218-BD16-418FC2A97160}" dt="2025-04-23T12:01:39.213" v="1015"/>
          <ac:spMkLst>
            <pc:docMk/>
            <pc:sldMk cId="518256622" sldId="342"/>
            <ac:spMk id="17" creationId="{CF36F158-AD23-45C1-BC2B-A553A21486FB}"/>
          </ac:spMkLst>
        </pc:spChg>
        <pc:spChg chg="mod ord">
          <ac:chgData name="Jacobo de Nicolás Nuñez" userId="7c6829d1-1bf6-4417-b4a9-02cb8827630e" providerId="ADAL" clId="{24FFA3A1-9083-4218-BD16-418FC2A97160}" dt="2025-04-23T12:01:39.228" v="1017"/>
          <ac:spMkLst>
            <pc:docMk/>
            <pc:sldMk cId="518256622" sldId="342"/>
            <ac:spMk id="18" creationId="{5A43C8FC-6F71-4AF8-8FE1-0C2AA017BFDC}"/>
          </ac:spMkLst>
        </pc:spChg>
        <pc:spChg chg="mod ord">
          <ac:chgData name="Jacobo de Nicolás Nuñez" userId="7c6829d1-1bf6-4417-b4a9-02cb8827630e" providerId="ADAL" clId="{24FFA3A1-9083-4218-BD16-418FC2A97160}" dt="2025-04-23T12:01:39.228" v="1019"/>
          <ac:spMkLst>
            <pc:docMk/>
            <pc:sldMk cId="518256622" sldId="342"/>
            <ac:spMk id="19" creationId="{A60FC23A-9357-4F86-B4A4-64B0198C7B49}"/>
          </ac:spMkLst>
        </pc:spChg>
        <pc:spChg chg="mod ord">
          <ac:chgData name="Jacobo de Nicolás Nuñez" userId="7c6829d1-1bf6-4417-b4a9-02cb8827630e" providerId="ADAL" clId="{24FFA3A1-9083-4218-BD16-418FC2A97160}" dt="2025-04-23T12:01:39.228" v="1021"/>
          <ac:spMkLst>
            <pc:docMk/>
            <pc:sldMk cId="518256622" sldId="342"/>
            <ac:spMk id="20" creationId="{D71CDC04-9CCA-4DF8-8F9B-B52C694EFA5E}"/>
          </ac:spMkLst>
        </pc:spChg>
        <pc:spChg chg="mod ord">
          <ac:chgData name="Jacobo de Nicolás Nuñez" userId="7c6829d1-1bf6-4417-b4a9-02cb8827630e" providerId="ADAL" clId="{24FFA3A1-9083-4218-BD16-418FC2A97160}" dt="2025-04-23T12:01:39.228" v="1023"/>
          <ac:spMkLst>
            <pc:docMk/>
            <pc:sldMk cId="518256622" sldId="342"/>
            <ac:spMk id="24" creationId="{D8C02F70-E719-4A2A-A405-5211C8D3C213}"/>
          </ac:spMkLst>
        </pc:spChg>
        <pc:spChg chg="mod ord">
          <ac:chgData name="Jacobo de Nicolás Nuñez" userId="7c6829d1-1bf6-4417-b4a9-02cb8827630e" providerId="ADAL" clId="{24FFA3A1-9083-4218-BD16-418FC2A97160}" dt="2025-04-23T12:01:39.228" v="1025"/>
          <ac:spMkLst>
            <pc:docMk/>
            <pc:sldMk cId="518256622" sldId="342"/>
            <ac:spMk id="26" creationId="{72202102-0ACE-4039-A8E6-46BC1368F27A}"/>
          </ac:spMkLst>
        </pc:spChg>
        <pc:spChg chg="mod ord">
          <ac:chgData name="Jacobo de Nicolás Nuñez" userId="7c6829d1-1bf6-4417-b4a9-02cb8827630e" providerId="ADAL" clId="{24FFA3A1-9083-4218-BD16-418FC2A97160}" dt="2025-04-23T12:01:39.228" v="1027"/>
          <ac:spMkLst>
            <pc:docMk/>
            <pc:sldMk cId="518256622" sldId="342"/>
            <ac:spMk id="27" creationId="{2DABBBFD-72F7-4A6F-BDAB-2F1514C84891}"/>
          </ac:spMkLst>
        </pc:spChg>
        <pc:spChg chg="mod ord">
          <ac:chgData name="Jacobo de Nicolás Nuñez" userId="7c6829d1-1bf6-4417-b4a9-02cb8827630e" providerId="ADAL" clId="{24FFA3A1-9083-4218-BD16-418FC2A97160}" dt="2025-04-23T12:01:39.228" v="1029"/>
          <ac:spMkLst>
            <pc:docMk/>
            <pc:sldMk cId="518256622" sldId="342"/>
            <ac:spMk id="28" creationId="{B5FDF55C-0243-93DB-FE2C-4A84F7872DAE}"/>
          </ac:spMkLst>
        </pc:spChg>
        <pc:graphicFrameChg chg="add mod ord modVis">
          <ac:chgData name="Jacobo de Nicolás Nuñez" userId="7c6829d1-1bf6-4417-b4a9-02cb8827630e" providerId="ADAL" clId="{24FFA3A1-9083-4218-BD16-418FC2A97160}" dt="2025-04-23T12:01:39.377" v="1051"/>
          <ac:graphicFrameMkLst>
            <pc:docMk/>
            <pc:sldMk cId="518256622" sldId="342"/>
            <ac:graphicFrameMk id="5" creationId="{9FE780F0-02A2-95C0-6F07-1398D2726329}"/>
          </ac:graphicFrameMkLst>
        </pc:graphicFrameChg>
        <pc:picChg chg="mod ord">
          <ac:chgData name="Jacobo de Nicolás Nuñez" userId="7c6829d1-1bf6-4417-b4a9-02cb8827630e" providerId="ADAL" clId="{24FFA3A1-9083-4218-BD16-418FC2A97160}" dt="2025-04-23T12:01:39.228" v="1031"/>
          <ac:picMkLst>
            <pc:docMk/>
            <pc:sldMk cId="518256622" sldId="342"/>
            <ac:picMk id="29" creationId="{0971EEDA-CD70-206E-278D-FA608C58DB9E}"/>
          </ac:picMkLst>
        </pc:picChg>
        <pc:picChg chg="mod ord">
          <ac:chgData name="Jacobo de Nicolás Nuñez" userId="7c6829d1-1bf6-4417-b4a9-02cb8827630e" providerId="ADAL" clId="{24FFA3A1-9083-4218-BD16-418FC2A97160}" dt="2025-04-23T12:01:39.228" v="1033"/>
          <ac:picMkLst>
            <pc:docMk/>
            <pc:sldMk cId="518256622" sldId="342"/>
            <ac:picMk id="30" creationId="{108ADB2A-6750-A797-52DA-622A37F11E4E}"/>
          </ac:picMkLst>
        </pc:picChg>
        <pc:picChg chg="mod ord">
          <ac:chgData name="Jacobo de Nicolás Nuñez" userId="7c6829d1-1bf6-4417-b4a9-02cb8827630e" providerId="ADAL" clId="{24FFA3A1-9083-4218-BD16-418FC2A97160}" dt="2025-04-23T12:01:39.228" v="1035"/>
          <ac:picMkLst>
            <pc:docMk/>
            <pc:sldMk cId="518256622" sldId="342"/>
            <ac:picMk id="31" creationId="{EC7B6220-F034-883B-679A-D97791A31E68}"/>
          </ac:picMkLst>
        </pc:picChg>
        <pc:picChg chg="mod ord">
          <ac:chgData name="Jacobo de Nicolás Nuñez" userId="7c6829d1-1bf6-4417-b4a9-02cb8827630e" providerId="ADAL" clId="{24FFA3A1-9083-4218-BD16-418FC2A97160}" dt="2025-04-23T12:01:39.228" v="1037"/>
          <ac:picMkLst>
            <pc:docMk/>
            <pc:sldMk cId="518256622" sldId="342"/>
            <ac:picMk id="32" creationId="{3F8CCB46-4397-A53A-9A57-C50D2BDCF477}"/>
          </ac:picMkLst>
        </pc:picChg>
        <pc:picChg chg="mod ord">
          <ac:chgData name="Jacobo de Nicolás Nuñez" userId="7c6829d1-1bf6-4417-b4a9-02cb8827630e" providerId="ADAL" clId="{24FFA3A1-9083-4218-BD16-418FC2A97160}" dt="2025-04-23T12:01:39.196" v="993"/>
          <ac:picMkLst>
            <pc:docMk/>
            <pc:sldMk cId="518256622" sldId="342"/>
            <ac:picMk id="33" creationId="{DEC86295-6F11-AE37-5C0F-36CDF515D1CB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1:36:14.878" v="948" actId="14100"/>
        <pc:sldMkLst>
          <pc:docMk/>
          <pc:sldMk cId="1868421829" sldId="343"/>
        </pc:sldMkLst>
        <pc:picChg chg="mod">
          <ac:chgData name="Jacobo de Nicolás Nuñez" userId="7c6829d1-1bf6-4417-b4a9-02cb8827630e" providerId="ADAL" clId="{24FFA3A1-9083-4218-BD16-418FC2A97160}" dt="2025-04-23T11:36:14.878" v="948" actId="14100"/>
          <ac:picMkLst>
            <pc:docMk/>
            <pc:sldMk cId="1868421829" sldId="343"/>
            <ac:picMk id="4" creationId="{0D9D87A0-808E-456F-83CF-937A38FE26FC}"/>
          </ac:picMkLst>
        </pc:picChg>
        <pc:picChg chg="mod">
          <ac:chgData name="Jacobo de Nicolás Nuñez" userId="7c6829d1-1bf6-4417-b4a9-02cb8827630e" providerId="ADAL" clId="{24FFA3A1-9083-4218-BD16-418FC2A97160}" dt="2025-04-23T11:36:14.878" v="948" actId="14100"/>
          <ac:picMkLst>
            <pc:docMk/>
            <pc:sldMk cId="1868421829" sldId="343"/>
            <ac:picMk id="8" creationId="{5EBA6800-8AD7-423B-BE94-22AA4EE75F7A}"/>
          </ac:picMkLst>
        </pc:picChg>
        <pc:picChg chg="mod">
          <ac:chgData name="Jacobo de Nicolás Nuñez" userId="7c6829d1-1bf6-4417-b4a9-02cb8827630e" providerId="ADAL" clId="{24FFA3A1-9083-4218-BD16-418FC2A97160}" dt="2025-04-23T11:36:14.878" v="948" actId="14100"/>
          <ac:picMkLst>
            <pc:docMk/>
            <pc:sldMk cId="1868421829" sldId="343"/>
            <ac:picMk id="14" creationId="{16B14F49-58D9-45A0-A7A1-5D073C8B32FF}"/>
          </ac:picMkLst>
        </pc:picChg>
        <pc:picChg chg="mod">
          <ac:chgData name="Jacobo de Nicolás Nuñez" userId="7c6829d1-1bf6-4417-b4a9-02cb8827630e" providerId="ADAL" clId="{24FFA3A1-9083-4218-BD16-418FC2A97160}" dt="2025-04-23T11:36:14.878" v="948" actId="14100"/>
          <ac:picMkLst>
            <pc:docMk/>
            <pc:sldMk cId="1868421829" sldId="343"/>
            <ac:picMk id="15" creationId="{58534226-9E4C-44DA-B323-9C13737931DE}"/>
          </ac:picMkLst>
        </pc:picChg>
        <pc:picChg chg="mod">
          <ac:chgData name="Jacobo de Nicolás Nuñez" userId="7c6829d1-1bf6-4417-b4a9-02cb8827630e" providerId="ADAL" clId="{24FFA3A1-9083-4218-BD16-418FC2A97160}" dt="2025-04-23T11:36:14.878" v="948" actId="14100"/>
          <ac:picMkLst>
            <pc:docMk/>
            <pc:sldMk cId="1868421829" sldId="343"/>
            <ac:picMk id="37" creationId="{F3FC33CB-4D37-AF14-74B4-64E2867D5607}"/>
          </ac:picMkLst>
        </pc:picChg>
        <pc:picChg chg="mod">
          <ac:chgData name="Jacobo de Nicolás Nuñez" userId="7c6829d1-1bf6-4417-b4a9-02cb8827630e" providerId="ADAL" clId="{24FFA3A1-9083-4218-BD16-418FC2A97160}" dt="2025-04-23T11:36:14.878" v="948" actId="14100"/>
          <ac:picMkLst>
            <pc:docMk/>
            <pc:sldMk cId="1868421829" sldId="343"/>
            <ac:picMk id="38" creationId="{0A708ACE-67BF-6A26-3D8E-C6BC6EF06660}"/>
          </ac:picMkLst>
        </pc:picChg>
        <pc:picChg chg="mod">
          <ac:chgData name="Jacobo de Nicolás Nuñez" userId="7c6829d1-1bf6-4417-b4a9-02cb8827630e" providerId="ADAL" clId="{24FFA3A1-9083-4218-BD16-418FC2A97160}" dt="2025-04-23T11:36:14.878" v="948" actId="14100"/>
          <ac:picMkLst>
            <pc:docMk/>
            <pc:sldMk cId="1868421829" sldId="343"/>
            <ac:picMk id="39" creationId="{250811CE-4746-518A-022D-AAEC86FB990A}"/>
          </ac:picMkLst>
        </pc:picChg>
        <pc:picChg chg="mod">
          <ac:chgData name="Jacobo de Nicolás Nuñez" userId="7c6829d1-1bf6-4417-b4a9-02cb8827630e" providerId="ADAL" clId="{24FFA3A1-9083-4218-BD16-418FC2A97160}" dt="2025-04-23T11:36:14.878" v="948" actId="14100"/>
          <ac:picMkLst>
            <pc:docMk/>
            <pc:sldMk cId="1868421829" sldId="343"/>
            <ac:picMk id="40" creationId="{CA32DEE1-FADD-6920-4289-D241E3BF4D19}"/>
          </ac:picMkLst>
        </pc:picChg>
      </pc:sldChg>
      <pc:sldChg chg="addSp delSp modSp mod">
        <pc:chgData name="Jacobo de Nicolás Nuñez" userId="7c6829d1-1bf6-4417-b4a9-02cb8827630e" providerId="ADAL" clId="{24FFA3A1-9083-4218-BD16-418FC2A97160}" dt="2025-04-23T11:40:22.255" v="956" actId="14100"/>
        <pc:sldMkLst>
          <pc:docMk/>
          <pc:sldMk cId="1089569201" sldId="345"/>
        </pc:sldMkLst>
        <pc:picChg chg="mod">
          <ac:chgData name="Jacobo de Nicolás Nuñez" userId="7c6829d1-1bf6-4417-b4a9-02cb8827630e" providerId="ADAL" clId="{24FFA3A1-9083-4218-BD16-418FC2A97160}" dt="2025-04-23T11:40:22.255" v="956" actId="14100"/>
          <ac:picMkLst>
            <pc:docMk/>
            <pc:sldMk cId="1089569201" sldId="345"/>
            <ac:picMk id="5" creationId="{93B94602-BF0E-0989-3688-9BE724C0C36F}"/>
          </ac:picMkLst>
        </pc:picChg>
        <pc:picChg chg="mod">
          <ac:chgData name="Jacobo de Nicolás Nuñez" userId="7c6829d1-1bf6-4417-b4a9-02cb8827630e" providerId="ADAL" clId="{24FFA3A1-9083-4218-BD16-418FC2A97160}" dt="2025-04-23T11:40:22.255" v="956" actId="14100"/>
          <ac:picMkLst>
            <pc:docMk/>
            <pc:sldMk cId="1089569201" sldId="345"/>
            <ac:picMk id="8" creationId="{9DBD1991-EEBE-06E0-93D1-7FB6D656A81D}"/>
          </ac:picMkLst>
        </pc:picChg>
        <pc:picChg chg="add mod">
          <ac:chgData name="Jacobo de Nicolás Nuñez" userId="7c6829d1-1bf6-4417-b4a9-02cb8827630e" providerId="ADAL" clId="{24FFA3A1-9083-4218-BD16-418FC2A97160}" dt="2025-04-23T11:40:22.255" v="956" actId="14100"/>
          <ac:picMkLst>
            <pc:docMk/>
            <pc:sldMk cId="1089569201" sldId="345"/>
            <ac:picMk id="12" creationId="{A1F9C8AE-D0E8-F1E0-DADD-FB145C874C10}"/>
          </ac:picMkLst>
        </pc:picChg>
        <pc:picChg chg="mod">
          <ac:chgData name="Jacobo de Nicolás Nuñez" userId="7c6829d1-1bf6-4417-b4a9-02cb8827630e" providerId="ADAL" clId="{24FFA3A1-9083-4218-BD16-418FC2A97160}" dt="2025-04-23T11:40:22.255" v="956" actId="14100"/>
          <ac:picMkLst>
            <pc:docMk/>
            <pc:sldMk cId="1089569201" sldId="345"/>
            <ac:picMk id="33" creationId="{BD521948-CBB0-4E57-EC0C-550ACA37A9FD}"/>
          </ac:picMkLst>
        </pc:picChg>
        <pc:picChg chg="mod">
          <ac:chgData name="Jacobo de Nicolás Nuñez" userId="7c6829d1-1bf6-4417-b4a9-02cb8827630e" providerId="ADAL" clId="{24FFA3A1-9083-4218-BD16-418FC2A97160}" dt="2025-04-23T11:40:22.255" v="956" actId="14100"/>
          <ac:picMkLst>
            <pc:docMk/>
            <pc:sldMk cId="1089569201" sldId="345"/>
            <ac:picMk id="35" creationId="{D22E6FFD-4E9D-225B-B9A0-06FA18DF103D}"/>
          </ac:picMkLst>
        </pc:picChg>
        <pc:picChg chg="mod">
          <ac:chgData name="Jacobo de Nicolás Nuñez" userId="7c6829d1-1bf6-4417-b4a9-02cb8827630e" providerId="ADAL" clId="{24FFA3A1-9083-4218-BD16-418FC2A97160}" dt="2025-04-23T11:40:22.255" v="956" actId="14100"/>
          <ac:picMkLst>
            <pc:docMk/>
            <pc:sldMk cId="1089569201" sldId="345"/>
            <ac:picMk id="36" creationId="{786C472D-88B4-07C4-2458-C225AB08240E}"/>
          </ac:picMkLst>
        </pc:picChg>
        <pc:picChg chg="mod">
          <ac:chgData name="Jacobo de Nicolás Nuñez" userId="7c6829d1-1bf6-4417-b4a9-02cb8827630e" providerId="ADAL" clId="{24FFA3A1-9083-4218-BD16-418FC2A97160}" dt="2025-04-23T11:40:22.255" v="956" actId="14100"/>
          <ac:picMkLst>
            <pc:docMk/>
            <pc:sldMk cId="1089569201" sldId="345"/>
            <ac:picMk id="37" creationId="{E46EF2C7-B94E-E880-1923-DFB3ECBD43A3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1:56:05.285" v="978" actId="14100"/>
        <pc:sldMkLst>
          <pc:docMk/>
          <pc:sldMk cId="3097981172" sldId="346"/>
        </pc:sldMkLst>
        <pc:picChg chg="mod">
          <ac:chgData name="Jacobo de Nicolás Nuñez" userId="7c6829d1-1bf6-4417-b4a9-02cb8827630e" providerId="ADAL" clId="{24FFA3A1-9083-4218-BD16-418FC2A97160}" dt="2025-04-23T11:56:05.285" v="978" actId="14100"/>
          <ac:picMkLst>
            <pc:docMk/>
            <pc:sldMk cId="3097981172" sldId="346"/>
            <ac:picMk id="28" creationId="{CE40B010-E759-ED47-0969-4BACEAFAD9D2}"/>
          </ac:picMkLst>
        </pc:picChg>
        <pc:picChg chg="mod">
          <ac:chgData name="Jacobo de Nicolás Nuñez" userId="7c6829d1-1bf6-4417-b4a9-02cb8827630e" providerId="ADAL" clId="{24FFA3A1-9083-4218-BD16-418FC2A97160}" dt="2025-04-23T11:56:05.285" v="978" actId="14100"/>
          <ac:picMkLst>
            <pc:docMk/>
            <pc:sldMk cId="3097981172" sldId="346"/>
            <ac:picMk id="29" creationId="{E4085552-CDF2-BD16-38A3-447A235C4D39}"/>
          </ac:picMkLst>
        </pc:picChg>
        <pc:picChg chg="mod">
          <ac:chgData name="Jacobo de Nicolás Nuñez" userId="7c6829d1-1bf6-4417-b4a9-02cb8827630e" providerId="ADAL" clId="{24FFA3A1-9083-4218-BD16-418FC2A97160}" dt="2025-04-23T11:56:05.285" v="978" actId="14100"/>
          <ac:picMkLst>
            <pc:docMk/>
            <pc:sldMk cId="3097981172" sldId="346"/>
            <ac:picMk id="30" creationId="{0598C336-D1B7-9CB6-1601-23DA20709073}"/>
          </ac:picMkLst>
        </pc:picChg>
        <pc:picChg chg="mod">
          <ac:chgData name="Jacobo de Nicolás Nuñez" userId="7c6829d1-1bf6-4417-b4a9-02cb8827630e" providerId="ADAL" clId="{24FFA3A1-9083-4218-BD16-418FC2A97160}" dt="2025-04-23T11:56:05.285" v="978" actId="14100"/>
          <ac:picMkLst>
            <pc:docMk/>
            <pc:sldMk cId="3097981172" sldId="346"/>
            <ac:picMk id="31" creationId="{93FB4924-4431-C125-8A36-50547275142F}"/>
          </ac:picMkLst>
        </pc:picChg>
        <pc:picChg chg="mod">
          <ac:chgData name="Jacobo de Nicolás Nuñez" userId="7c6829d1-1bf6-4417-b4a9-02cb8827630e" providerId="ADAL" clId="{24FFA3A1-9083-4218-BD16-418FC2A97160}" dt="2025-04-23T11:56:05.285" v="978" actId="14100"/>
          <ac:picMkLst>
            <pc:docMk/>
            <pc:sldMk cId="3097981172" sldId="346"/>
            <ac:picMk id="32" creationId="{6E052598-9B6A-31C6-843F-C2F2EB5AB5D5}"/>
          </ac:picMkLst>
        </pc:picChg>
        <pc:picChg chg="mod">
          <ac:chgData name="Jacobo de Nicolás Nuñez" userId="7c6829d1-1bf6-4417-b4a9-02cb8827630e" providerId="ADAL" clId="{24FFA3A1-9083-4218-BD16-418FC2A97160}" dt="2025-04-23T11:56:05.285" v="978" actId="14100"/>
          <ac:picMkLst>
            <pc:docMk/>
            <pc:sldMk cId="3097981172" sldId="346"/>
            <ac:picMk id="33" creationId="{191EA660-3ADB-CC7F-E3D6-443A8D899A5B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1:47:53.233" v="971" actId="14100"/>
        <pc:sldMkLst>
          <pc:docMk/>
          <pc:sldMk cId="3513931044" sldId="348"/>
        </pc:sldMkLst>
        <pc:picChg chg="mod">
          <ac:chgData name="Jacobo de Nicolás Nuñez" userId="7c6829d1-1bf6-4417-b4a9-02cb8827630e" providerId="ADAL" clId="{24FFA3A1-9083-4218-BD16-418FC2A97160}" dt="2025-04-23T11:47:53.233" v="971" actId="14100"/>
          <ac:picMkLst>
            <pc:docMk/>
            <pc:sldMk cId="3513931044" sldId="348"/>
            <ac:picMk id="25" creationId="{77B404EA-DC69-0A2C-8868-4BF1D54E0952}"/>
          </ac:picMkLst>
        </pc:picChg>
        <pc:picChg chg="mod">
          <ac:chgData name="Jacobo de Nicolás Nuñez" userId="7c6829d1-1bf6-4417-b4a9-02cb8827630e" providerId="ADAL" clId="{24FFA3A1-9083-4218-BD16-418FC2A97160}" dt="2025-04-23T11:47:53.233" v="971" actId="14100"/>
          <ac:picMkLst>
            <pc:docMk/>
            <pc:sldMk cId="3513931044" sldId="348"/>
            <ac:picMk id="26" creationId="{08B5F1D6-340B-BE9B-8C43-06BDEACDCE9B}"/>
          </ac:picMkLst>
        </pc:picChg>
        <pc:picChg chg="mod">
          <ac:chgData name="Jacobo de Nicolás Nuñez" userId="7c6829d1-1bf6-4417-b4a9-02cb8827630e" providerId="ADAL" clId="{24FFA3A1-9083-4218-BD16-418FC2A97160}" dt="2025-04-23T11:47:53.233" v="971" actId="14100"/>
          <ac:picMkLst>
            <pc:docMk/>
            <pc:sldMk cId="3513931044" sldId="348"/>
            <ac:picMk id="27" creationId="{45A00EC1-4727-1BF9-4A8C-43B5BC4CE300}"/>
          </ac:picMkLst>
        </pc:picChg>
        <pc:picChg chg="mod">
          <ac:chgData name="Jacobo de Nicolás Nuñez" userId="7c6829d1-1bf6-4417-b4a9-02cb8827630e" providerId="ADAL" clId="{24FFA3A1-9083-4218-BD16-418FC2A97160}" dt="2025-04-23T11:47:53.233" v="971" actId="14100"/>
          <ac:picMkLst>
            <pc:docMk/>
            <pc:sldMk cId="3513931044" sldId="348"/>
            <ac:picMk id="28" creationId="{13D51E02-D272-67B8-666F-7C4DF7F6008D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1:59:42.358" v="983" actId="14100"/>
        <pc:sldMkLst>
          <pc:docMk/>
          <pc:sldMk cId="1693682408" sldId="350"/>
        </pc:sldMkLst>
        <pc:picChg chg="mod">
          <ac:chgData name="Jacobo de Nicolás Nuñez" userId="7c6829d1-1bf6-4417-b4a9-02cb8827630e" providerId="ADAL" clId="{24FFA3A1-9083-4218-BD16-418FC2A97160}" dt="2025-04-23T11:59:20.575" v="979" actId="14100"/>
          <ac:picMkLst>
            <pc:docMk/>
            <pc:sldMk cId="1693682408" sldId="350"/>
            <ac:picMk id="34" creationId="{B9E11FD3-137A-89AA-9124-0B886EFF3401}"/>
          </ac:picMkLst>
        </pc:picChg>
        <pc:picChg chg="mod">
          <ac:chgData name="Jacobo de Nicolás Nuñez" userId="7c6829d1-1bf6-4417-b4a9-02cb8827630e" providerId="ADAL" clId="{24FFA3A1-9083-4218-BD16-418FC2A97160}" dt="2025-04-23T11:59:30.537" v="981" actId="1076"/>
          <ac:picMkLst>
            <pc:docMk/>
            <pc:sldMk cId="1693682408" sldId="350"/>
            <ac:picMk id="35" creationId="{B7523059-AE43-841E-1AC5-AF4C682D42D5}"/>
          </ac:picMkLst>
        </pc:picChg>
        <pc:picChg chg="mod">
          <ac:chgData name="Jacobo de Nicolás Nuñez" userId="7c6829d1-1bf6-4417-b4a9-02cb8827630e" providerId="ADAL" clId="{24FFA3A1-9083-4218-BD16-418FC2A97160}" dt="2025-04-23T11:59:42.358" v="983" actId="14100"/>
          <ac:picMkLst>
            <pc:docMk/>
            <pc:sldMk cId="1693682408" sldId="350"/>
            <ac:picMk id="36" creationId="{8B069358-B0A7-59BF-14DE-9211C954494E}"/>
          </ac:picMkLst>
        </pc:picChg>
        <pc:picChg chg="mod">
          <ac:chgData name="Jacobo de Nicolás Nuñez" userId="7c6829d1-1bf6-4417-b4a9-02cb8827630e" providerId="ADAL" clId="{24FFA3A1-9083-4218-BD16-418FC2A97160}" dt="2025-04-23T11:59:20.575" v="979" actId="14100"/>
          <ac:picMkLst>
            <pc:docMk/>
            <pc:sldMk cId="1693682408" sldId="350"/>
            <ac:picMk id="37" creationId="{3652DC6E-A55D-72DB-8F86-738E86E1241E}"/>
          </ac:picMkLst>
        </pc:picChg>
        <pc:picChg chg="mod">
          <ac:chgData name="Jacobo de Nicolás Nuñez" userId="7c6829d1-1bf6-4417-b4a9-02cb8827630e" providerId="ADAL" clId="{24FFA3A1-9083-4218-BD16-418FC2A97160}" dt="2025-04-23T11:59:20.575" v="979" actId="14100"/>
          <ac:picMkLst>
            <pc:docMk/>
            <pc:sldMk cId="1693682408" sldId="350"/>
            <ac:picMk id="38" creationId="{79F4B34F-0AE9-5428-4C4E-246D04DB9FD9}"/>
          </ac:picMkLst>
        </pc:picChg>
      </pc:sldChg>
      <pc:sldChg chg="addSp modSp mod">
        <pc:chgData name="Jacobo de Nicolás Nuñez" userId="7c6829d1-1bf6-4417-b4a9-02cb8827630e" providerId="ADAL" clId="{24FFA3A1-9083-4218-BD16-418FC2A97160}" dt="2025-04-23T08:44:30.457" v="619"/>
        <pc:sldMkLst>
          <pc:docMk/>
          <pc:sldMk cId="238564029" sldId="359"/>
        </pc:sldMkLst>
        <pc:spChg chg="mod ord">
          <ac:chgData name="Jacobo de Nicolás Nuñez" userId="7c6829d1-1bf6-4417-b4a9-02cb8827630e" providerId="ADAL" clId="{24FFA3A1-9083-4218-BD16-418FC2A97160}" dt="2025-04-23T08:44:30.244" v="471"/>
          <ac:spMkLst>
            <pc:docMk/>
            <pc:sldMk cId="238564029" sldId="359"/>
            <ac:spMk id="2" creationId="{8D9BEE49-4687-4A81-A972-21AD9C5EA9CA}"/>
          </ac:spMkLst>
        </pc:spChg>
        <pc:spChg chg="mod ord">
          <ac:chgData name="Jacobo de Nicolás Nuñez" userId="7c6829d1-1bf6-4417-b4a9-02cb8827630e" providerId="ADAL" clId="{24FFA3A1-9083-4218-BD16-418FC2A97160}" dt="2025-04-23T08:44:30.252" v="473"/>
          <ac:spMkLst>
            <pc:docMk/>
            <pc:sldMk cId="238564029" sldId="359"/>
            <ac:spMk id="3" creationId="{A5C93B73-E9CE-44B0-A142-9C6E62D29420}"/>
          </ac:spMkLst>
        </pc:spChg>
        <pc:spChg chg="mod ord">
          <ac:chgData name="Jacobo de Nicolás Nuñez" userId="7c6829d1-1bf6-4417-b4a9-02cb8827630e" providerId="ADAL" clId="{24FFA3A1-9083-4218-BD16-418FC2A97160}" dt="2025-04-23T08:44:30.252" v="481"/>
          <ac:spMkLst>
            <pc:docMk/>
            <pc:sldMk cId="238564029" sldId="359"/>
            <ac:spMk id="6" creationId="{6A172509-73F1-4138-5A81-725EBF7508FB}"/>
          </ac:spMkLst>
        </pc:spChg>
        <pc:spChg chg="mod ord">
          <ac:chgData name="Jacobo de Nicolás Nuñez" userId="7c6829d1-1bf6-4417-b4a9-02cb8827630e" providerId="ADAL" clId="{24FFA3A1-9083-4218-BD16-418FC2A97160}" dt="2025-04-23T08:44:30.252" v="483"/>
          <ac:spMkLst>
            <pc:docMk/>
            <pc:sldMk cId="238564029" sldId="359"/>
            <ac:spMk id="12" creationId="{CE93F210-8147-4FFC-9ADB-F19F13B6C513}"/>
          </ac:spMkLst>
        </pc:spChg>
        <pc:spChg chg="mod ord">
          <ac:chgData name="Jacobo de Nicolás Nuñez" userId="7c6829d1-1bf6-4417-b4a9-02cb8827630e" providerId="ADAL" clId="{24FFA3A1-9083-4218-BD16-418FC2A97160}" dt="2025-04-23T08:44:30.252" v="485"/>
          <ac:spMkLst>
            <pc:docMk/>
            <pc:sldMk cId="238564029" sldId="359"/>
            <ac:spMk id="13" creationId="{204310B3-8924-1B8F-2E5D-A6B1E8DF03E6}"/>
          </ac:spMkLst>
        </pc:spChg>
        <pc:spChg chg="mod ord">
          <ac:chgData name="Jacobo de Nicolás Nuñez" userId="7c6829d1-1bf6-4417-b4a9-02cb8827630e" providerId="ADAL" clId="{24FFA3A1-9083-4218-BD16-418FC2A97160}" dt="2025-04-23T08:44:30.252" v="487"/>
          <ac:spMkLst>
            <pc:docMk/>
            <pc:sldMk cId="238564029" sldId="359"/>
            <ac:spMk id="14" creationId="{999956C2-BF9D-0BC0-9AC9-DA9641745344}"/>
          </ac:spMkLst>
        </pc:spChg>
        <pc:spChg chg="mod ord">
          <ac:chgData name="Jacobo de Nicolás Nuñez" userId="7c6829d1-1bf6-4417-b4a9-02cb8827630e" providerId="ADAL" clId="{24FFA3A1-9083-4218-BD16-418FC2A97160}" dt="2025-04-23T08:44:30.252" v="489"/>
          <ac:spMkLst>
            <pc:docMk/>
            <pc:sldMk cId="238564029" sldId="359"/>
            <ac:spMk id="15" creationId="{3E6DFC32-683E-3A85-C048-6532AA38ED84}"/>
          </ac:spMkLst>
        </pc:spChg>
        <pc:spChg chg="mod ord">
          <ac:chgData name="Jacobo de Nicolás Nuñez" userId="7c6829d1-1bf6-4417-b4a9-02cb8827630e" providerId="ADAL" clId="{24FFA3A1-9083-4218-BD16-418FC2A97160}" dt="2025-04-23T08:44:30.262" v="491"/>
          <ac:spMkLst>
            <pc:docMk/>
            <pc:sldMk cId="238564029" sldId="359"/>
            <ac:spMk id="16" creationId="{20E57B5E-E338-EDBE-061E-667F50DBAB22}"/>
          </ac:spMkLst>
        </pc:spChg>
        <pc:spChg chg="mod ord">
          <ac:chgData name="Jacobo de Nicolás Nuñez" userId="7c6829d1-1bf6-4417-b4a9-02cb8827630e" providerId="ADAL" clId="{24FFA3A1-9083-4218-BD16-418FC2A97160}" dt="2025-04-23T08:44:30.262" v="493"/>
          <ac:spMkLst>
            <pc:docMk/>
            <pc:sldMk cId="238564029" sldId="359"/>
            <ac:spMk id="19" creationId="{E4FDA200-C5C3-51EC-E091-174969F15CF1}"/>
          </ac:spMkLst>
        </pc:spChg>
        <pc:spChg chg="mod ord">
          <ac:chgData name="Jacobo de Nicolás Nuñez" userId="7c6829d1-1bf6-4417-b4a9-02cb8827630e" providerId="ADAL" clId="{24FFA3A1-9083-4218-BD16-418FC2A97160}" dt="2025-04-23T08:44:30.264" v="495"/>
          <ac:spMkLst>
            <pc:docMk/>
            <pc:sldMk cId="238564029" sldId="359"/>
            <ac:spMk id="21" creationId="{4B8590B6-AB6A-20E1-D1BA-6ABFFA1EE34C}"/>
          </ac:spMkLst>
        </pc:spChg>
        <pc:spChg chg="mod ord">
          <ac:chgData name="Jacobo de Nicolás Nuñez" userId="7c6829d1-1bf6-4417-b4a9-02cb8827630e" providerId="ADAL" clId="{24FFA3A1-9083-4218-BD16-418FC2A97160}" dt="2025-04-23T08:44:30.264" v="499"/>
          <ac:spMkLst>
            <pc:docMk/>
            <pc:sldMk cId="238564029" sldId="359"/>
            <ac:spMk id="28" creationId="{BB29B838-792A-4356-8513-23E2E128548F}"/>
          </ac:spMkLst>
        </pc:spChg>
        <pc:spChg chg="mod ord">
          <ac:chgData name="Jacobo de Nicolás Nuñez" userId="7c6829d1-1bf6-4417-b4a9-02cb8827630e" providerId="ADAL" clId="{24FFA3A1-9083-4218-BD16-418FC2A97160}" dt="2025-04-23T08:44:30.264" v="501"/>
          <ac:spMkLst>
            <pc:docMk/>
            <pc:sldMk cId="238564029" sldId="359"/>
            <ac:spMk id="30" creationId="{21CAE1D9-0FAC-426E-A03C-EBE24C174929}"/>
          </ac:spMkLst>
        </pc:spChg>
        <pc:spChg chg="mod ord">
          <ac:chgData name="Jacobo de Nicolás Nuñez" userId="7c6829d1-1bf6-4417-b4a9-02cb8827630e" providerId="ADAL" clId="{24FFA3A1-9083-4218-BD16-418FC2A97160}" dt="2025-04-23T08:44:30.264" v="503"/>
          <ac:spMkLst>
            <pc:docMk/>
            <pc:sldMk cId="238564029" sldId="359"/>
            <ac:spMk id="32" creationId="{61071331-7BAA-4722-93E0-85AC6585C4E0}"/>
          </ac:spMkLst>
        </pc:spChg>
        <pc:spChg chg="mod ord">
          <ac:chgData name="Jacobo de Nicolás Nuñez" userId="7c6829d1-1bf6-4417-b4a9-02cb8827630e" providerId="ADAL" clId="{24FFA3A1-9083-4218-BD16-418FC2A97160}" dt="2025-04-23T08:44:30.264" v="505"/>
          <ac:spMkLst>
            <pc:docMk/>
            <pc:sldMk cId="238564029" sldId="359"/>
            <ac:spMk id="34" creationId="{B04D4EAB-564B-471B-86B8-84BD90200149}"/>
          </ac:spMkLst>
        </pc:spChg>
        <pc:spChg chg="mod ord">
          <ac:chgData name="Jacobo de Nicolás Nuñez" userId="7c6829d1-1bf6-4417-b4a9-02cb8827630e" providerId="ADAL" clId="{24FFA3A1-9083-4218-BD16-418FC2A97160}" dt="2025-04-23T08:44:30.264" v="507"/>
          <ac:spMkLst>
            <pc:docMk/>
            <pc:sldMk cId="238564029" sldId="359"/>
            <ac:spMk id="41" creationId="{C70BE0A8-8F33-493C-8E27-A4DAC05D61F6}"/>
          </ac:spMkLst>
        </pc:spChg>
        <pc:spChg chg="mod ord">
          <ac:chgData name="Jacobo de Nicolás Nuñez" userId="7c6829d1-1bf6-4417-b4a9-02cb8827630e" providerId="ADAL" clId="{24FFA3A1-9083-4218-BD16-418FC2A97160}" dt="2025-04-23T08:44:30.252" v="479"/>
          <ac:spMkLst>
            <pc:docMk/>
            <pc:sldMk cId="238564029" sldId="359"/>
            <ac:spMk id="43" creationId="{3E6DFC32-683E-3A85-C048-6532AA38ED84}"/>
          </ac:spMkLst>
        </pc:spChg>
        <pc:spChg chg="mod ord">
          <ac:chgData name="Jacobo de Nicolás Nuñez" userId="7c6829d1-1bf6-4417-b4a9-02cb8827630e" providerId="ADAL" clId="{24FFA3A1-9083-4218-BD16-418FC2A97160}" dt="2025-04-23T08:44:30.273" v="509"/>
          <ac:spMkLst>
            <pc:docMk/>
            <pc:sldMk cId="238564029" sldId="359"/>
            <ac:spMk id="54" creationId="{BD55B9F5-1E43-4C63-8F3F-C721908EF68B}"/>
          </ac:spMkLst>
        </pc:spChg>
        <pc:spChg chg="mod ord">
          <ac:chgData name="Jacobo de Nicolás Nuñez" userId="7c6829d1-1bf6-4417-b4a9-02cb8827630e" providerId="ADAL" clId="{24FFA3A1-9083-4218-BD16-418FC2A97160}" dt="2025-04-23T08:44:30.274" v="511"/>
          <ac:spMkLst>
            <pc:docMk/>
            <pc:sldMk cId="238564029" sldId="359"/>
            <ac:spMk id="58" creationId="{9757823C-702C-4896-B9E9-744F4E9C3B39}"/>
          </ac:spMkLst>
        </pc:spChg>
        <pc:spChg chg="mod ord">
          <ac:chgData name="Jacobo de Nicolás Nuñez" userId="7c6829d1-1bf6-4417-b4a9-02cb8827630e" providerId="ADAL" clId="{24FFA3A1-9083-4218-BD16-418FC2A97160}" dt="2025-04-23T08:44:30.274" v="513"/>
          <ac:spMkLst>
            <pc:docMk/>
            <pc:sldMk cId="238564029" sldId="359"/>
            <ac:spMk id="62" creationId="{DDA80EC1-31A7-4449-B372-E0AF6E9145C9}"/>
          </ac:spMkLst>
        </pc:spChg>
        <pc:spChg chg="mod ord">
          <ac:chgData name="Jacobo de Nicolás Nuñez" userId="7c6829d1-1bf6-4417-b4a9-02cb8827630e" providerId="ADAL" clId="{24FFA3A1-9083-4218-BD16-418FC2A97160}" dt="2025-04-23T08:44:30.277" v="515"/>
          <ac:spMkLst>
            <pc:docMk/>
            <pc:sldMk cId="238564029" sldId="359"/>
            <ac:spMk id="63" creationId="{9F251C8F-5306-4BAB-A51B-637FC84A7DD8}"/>
          </ac:spMkLst>
        </pc:spChg>
        <pc:spChg chg="mod ord">
          <ac:chgData name="Jacobo de Nicolás Nuñez" userId="7c6829d1-1bf6-4417-b4a9-02cb8827630e" providerId="ADAL" clId="{24FFA3A1-9083-4218-BD16-418FC2A97160}" dt="2025-04-23T08:44:30.278" v="517"/>
          <ac:spMkLst>
            <pc:docMk/>
            <pc:sldMk cId="238564029" sldId="359"/>
            <ac:spMk id="64" creationId="{2D5301E1-C790-4E42-B697-CC7609FAFDFB}"/>
          </ac:spMkLst>
        </pc:spChg>
        <pc:spChg chg="mod ord">
          <ac:chgData name="Jacobo de Nicolás Nuñez" userId="7c6829d1-1bf6-4417-b4a9-02cb8827630e" providerId="ADAL" clId="{24FFA3A1-9083-4218-BD16-418FC2A97160}" dt="2025-04-23T08:44:30.278" v="519"/>
          <ac:spMkLst>
            <pc:docMk/>
            <pc:sldMk cId="238564029" sldId="359"/>
            <ac:spMk id="65" creationId="{66961C72-5E60-424A-8CB3-20DEC025AEE0}"/>
          </ac:spMkLst>
        </pc:spChg>
        <pc:spChg chg="mod ord">
          <ac:chgData name="Jacobo de Nicolás Nuñez" userId="7c6829d1-1bf6-4417-b4a9-02cb8827630e" providerId="ADAL" clId="{24FFA3A1-9083-4218-BD16-418FC2A97160}" dt="2025-04-23T08:44:30.278" v="521"/>
          <ac:spMkLst>
            <pc:docMk/>
            <pc:sldMk cId="238564029" sldId="359"/>
            <ac:spMk id="66" creationId="{82A4A767-7AC9-420A-AC19-04A49D98D49E}"/>
          </ac:spMkLst>
        </pc:spChg>
        <pc:spChg chg="mod ord">
          <ac:chgData name="Jacobo de Nicolás Nuñez" userId="7c6829d1-1bf6-4417-b4a9-02cb8827630e" providerId="ADAL" clId="{24FFA3A1-9083-4218-BD16-418FC2A97160}" dt="2025-04-23T08:44:30.278" v="523"/>
          <ac:spMkLst>
            <pc:docMk/>
            <pc:sldMk cId="238564029" sldId="359"/>
            <ac:spMk id="67" creationId="{313E5B23-FBD2-46F7-9724-9BF56BDB73A6}"/>
          </ac:spMkLst>
        </pc:spChg>
        <pc:spChg chg="mod ord">
          <ac:chgData name="Jacobo de Nicolás Nuñez" userId="7c6829d1-1bf6-4417-b4a9-02cb8827630e" providerId="ADAL" clId="{24FFA3A1-9083-4218-BD16-418FC2A97160}" dt="2025-04-23T08:44:30.282" v="525"/>
          <ac:spMkLst>
            <pc:docMk/>
            <pc:sldMk cId="238564029" sldId="359"/>
            <ac:spMk id="68" creationId="{C74711E0-90AA-42F5-9298-0D890B10FA3B}"/>
          </ac:spMkLst>
        </pc:spChg>
        <pc:spChg chg="mod ord">
          <ac:chgData name="Jacobo de Nicolás Nuñez" userId="7c6829d1-1bf6-4417-b4a9-02cb8827630e" providerId="ADAL" clId="{24FFA3A1-9083-4218-BD16-418FC2A97160}" dt="2025-04-23T08:44:30.282" v="527"/>
          <ac:spMkLst>
            <pc:docMk/>
            <pc:sldMk cId="238564029" sldId="359"/>
            <ac:spMk id="69" creationId="{EC4F13E9-8948-4C78-BA54-88C6E492EC37}"/>
          </ac:spMkLst>
        </pc:spChg>
        <pc:spChg chg="mod ord">
          <ac:chgData name="Jacobo de Nicolás Nuñez" userId="7c6829d1-1bf6-4417-b4a9-02cb8827630e" providerId="ADAL" clId="{24FFA3A1-9083-4218-BD16-418FC2A97160}" dt="2025-04-23T08:44:30.284" v="529"/>
          <ac:spMkLst>
            <pc:docMk/>
            <pc:sldMk cId="238564029" sldId="359"/>
            <ac:spMk id="70" creationId="{E437BF80-2DC4-4504-8065-D55D75CC185C}"/>
          </ac:spMkLst>
        </pc:spChg>
        <pc:spChg chg="mod ord">
          <ac:chgData name="Jacobo de Nicolás Nuñez" userId="7c6829d1-1bf6-4417-b4a9-02cb8827630e" providerId="ADAL" clId="{24FFA3A1-9083-4218-BD16-418FC2A97160}" dt="2025-04-23T08:44:30.284" v="531"/>
          <ac:spMkLst>
            <pc:docMk/>
            <pc:sldMk cId="238564029" sldId="359"/>
            <ac:spMk id="72" creationId="{D61FF80A-394B-45EC-B067-CF4A1A8A2580}"/>
          </ac:spMkLst>
        </pc:spChg>
        <pc:spChg chg="mod ord">
          <ac:chgData name="Jacobo de Nicolás Nuñez" userId="7c6829d1-1bf6-4417-b4a9-02cb8827630e" providerId="ADAL" clId="{24FFA3A1-9083-4218-BD16-418FC2A97160}" dt="2025-04-23T08:44:30.284" v="533"/>
          <ac:spMkLst>
            <pc:docMk/>
            <pc:sldMk cId="238564029" sldId="359"/>
            <ac:spMk id="80" creationId="{2A54B031-8D7F-4D2D-BFE0-78CF796F3D67}"/>
          </ac:spMkLst>
        </pc:spChg>
        <pc:spChg chg="mod ord">
          <ac:chgData name="Jacobo de Nicolás Nuñez" userId="7c6829d1-1bf6-4417-b4a9-02cb8827630e" providerId="ADAL" clId="{24FFA3A1-9083-4218-BD16-418FC2A97160}" dt="2025-04-23T08:44:30.284" v="535"/>
          <ac:spMkLst>
            <pc:docMk/>
            <pc:sldMk cId="238564029" sldId="359"/>
            <ac:spMk id="83" creationId="{97C9CDAA-5AC1-4AE4-89A6-F4557620D4C5}"/>
          </ac:spMkLst>
        </pc:spChg>
        <pc:spChg chg="mod ord">
          <ac:chgData name="Jacobo de Nicolás Nuñez" userId="7c6829d1-1bf6-4417-b4a9-02cb8827630e" providerId="ADAL" clId="{24FFA3A1-9083-4218-BD16-418FC2A97160}" dt="2025-04-23T08:44:30.284" v="537"/>
          <ac:spMkLst>
            <pc:docMk/>
            <pc:sldMk cId="238564029" sldId="359"/>
            <ac:spMk id="84" creationId="{25455E80-2CB7-490B-B443-23675EFC4714}"/>
          </ac:spMkLst>
        </pc:spChg>
        <pc:spChg chg="mod ord">
          <ac:chgData name="Jacobo de Nicolás Nuñez" userId="7c6829d1-1bf6-4417-b4a9-02cb8827630e" providerId="ADAL" clId="{24FFA3A1-9083-4218-BD16-418FC2A97160}" dt="2025-04-23T08:44:30.284" v="539"/>
          <ac:spMkLst>
            <pc:docMk/>
            <pc:sldMk cId="238564029" sldId="359"/>
            <ac:spMk id="85" creationId="{BC461C81-8B9E-4987-A42B-9A3B3D7BC215}"/>
          </ac:spMkLst>
        </pc:spChg>
        <pc:spChg chg="mod ord">
          <ac:chgData name="Jacobo de Nicolás Nuñez" userId="7c6829d1-1bf6-4417-b4a9-02cb8827630e" providerId="ADAL" clId="{24FFA3A1-9083-4218-BD16-418FC2A97160}" dt="2025-04-23T08:44:30.284" v="541"/>
          <ac:spMkLst>
            <pc:docMk/>
            <pc:sldMk cId="238564029" sldId="359"/>
            <ac:spMk id="86" creationId="{2E0F08EE-3483-453A-A65C-BC932099DDB3}"/>
          </ac:spMkLst>
        </pc:spChg>
        <pc:spChg chg="mod ord">
          <ac:chgData name="Jacobo de Nicolás Nuñez" userId="7c6829d1-1bf6-4417-b4a9-02cb8827630e" providerId="ADAL" clId="{24FFA3A1-9083-4218-BD16-418FC2A97160}" dt="2025-04-23T08:44:30.284" v="543"/>
          <ac:spMkLst>
            <pc:docMk/>
            <pc:sldMk cId="238564029" sldId="359"/>
            <ac:spMk id="87" creationId="{204310B3-8924-1B8F-2E5D-A6B1E8DF03E6}"/>
          </ac:spMkLst>
        </pc:spChg>
        <pc:spChg chg="mod ord">
          <ac:chgData name="Jacobo de Nicolás Nuñez" userId="7c6829d1-1bf6-4417-b4a9-02cb8827630e" providerId="ADAL" clId="{24FFA3A1-9083-4218-BD16-418FC2A97160}" dt="2025-04-23T08:44:30.293" v="545"/>
          <ac:spMkLst>
            <pc:docMk/>
            <pc:sldMk cId="238564029" sldId="359"/>
            <ac:spMk id="88" creationId="{999956C2-BF9D-0BC0-9AC9-DA9641745344}"/>
          </ac:spMkLst>
        </pc:spChg>
        <pc:spChg chg="mod ord">
          <ac:chgData name="Jacobo de Nicolás Nuñez" userId="7c6829d1-1bf6-4417-b4a9-02cb8827630e" providerId="ADAL" clId="{24FFA3A1-9083-4218-BD16-418FC2A97160}" dt="2025-04-23T08:44:30.295" v="547"/>
          <ac:spMkLst>
            <pc:docMk/>
            <pc:sldMk cId="238564029" sldId="359"/>
            <ac:spMk id="89" creationId="{16F9E556-AD21-AD92-31DA-487DE4F5E077}"/>
          </ac:spMkLst>
        </pc:spChg>
        <pc:spChg chg="mod ord">
          <ac:chgData name="Jacobo de Nicolás Nuñez" userId="7c6829d1-1bf6-4417-b4a9-02cb8827630e" providerId="ADAL" clId="{24FFA3A1-9083-4218-BD16-418FC2A97160}" dt="2025-04-23T08:44:30.295" v="549"/>
          <ac:spMkLst>
            <pc:docMk/>
            <pc:sldMk cId="238564029" sldId="359"/>
            <ac:spMk id="90" creationId="{7097AAFB-EC2C-8BC2-F061-F480E75074DC}"/>
          </ac:spMkLst>
        </pc:spChg>
        <pc:spChg chg="mod ord">
          <ac:chgData name="Jacobo de Nicolás Nuñez" userId="7c6829d1-1bf6-4417-b4a9-02cb8827630e" providerId="ADAL" clId="{24FFA3A1-9083-4218-BD16-418FC2A97160}" dt="2025-04-23T08:44:30.295" v="551"/>
          <ac:spMkLst>
            <pc:docMk/>
            <pc:sldMk cId="238564029" sldId="359"/>
            <ac:spMk id="91" creationId="{31A00F3F-80C4-569E-FCD1-25A7FE9A0984}"/>
          </ac:spMkLst>
        </pc:spChg>
        <pc:spChg chg="mod ord">
          <ac:chgData name="Jacobo de Nicolás Nuñez" userId="7c6829d1-1bf6-4417-b4a9-02cb8827630e" providerId="ADAL" clId="{24FFA3A1-9083-4218-BD16-418FC2A97160}" dt="2025-04-23T08:44:30.295" v="553"/>
          <ac:spMkLst>
            <pc:docMk/>
            <pc:sldMk cId="238564029" sldId="359"/>
            <ac:spMk id="92" creationId="{26047CA7-4B7B-98EB-7A9D-987674A5A55A}"/>
          </ac:spMkLst>
        </pc:spChg>
        <pc:spChg chg="mod ord">
          <ac:chgData name="Jacobo de Nicolás Nuñez" userId="7c6829d1-1bf6-4417-b4a9-02cb8827630e" providerId="ADAL" clId="{24FFA3A1-9083-4218-BD16-418FC2A97160}" dt="2025-04-23T08:44:30.295" v="555"/>
          <ac:spMkLst>
            <pc:docMk/>
            <pc:sldMk cId="238564029" sldId="359"/>
            <ac:spMk id="93" creationId="{158E5562-3325-CF7D-2026-E42F353CB6C5}"/>
          </ac:spMkLst>
        </pc:spChg>
        <pc:spChg chg="mod ord">
          <ac:chgData name="Jacobo de Nicolás Nuñez" userId="7c6829d1-1bf6-4417-b4a9-02cb8827630e" providerId="ADAL" clId="{24FFA3A1-9083-4218-BD16-418FC2A97160}" dt="2025-04-23T08:44:30.295" v="557"/>
          <ac:spMkLst>
            <pc:docMk/>
            <pc:sldMk cId="238564029" sldId="359"/>
            <ac:spMk id="94" creationId="{B5CC2F7B-4557-5BC1-8F1F-4DA898FE37B6}"/>
          </ac:spMkLst>
        </pc:spChg>
        <pc:spChg chg="mod ord">
          <ac:chgData name="Jacobo de Nicolás Nuñez" userId="7c6829d1-1bf6-4417-b4a9-02cb8827630e" providerId="ADAL" clId="{24FFA3A1-9083-4218-BD16-418FC2A97160}" dt="2025-04-23T08:44:30.295" v="559"/>
          <ac:spMkLst>
            <pc:docMk/>
            <pc:sldMk cId="238564029" sldId="359"/>
            <ac:spMk id="96" creationId="{181BC3EA-B794-EB81-E896-1A3D8EF225D0}"/>
          </ac:spMkLst>
        </pc:spChg>
        <pc:spChg chg="mod ord">
          <ac:chgData name="Jacobo de Nicolás Nuñez" userId="7c6829d1-1bf6-4417-b4a9-02cb8827630e" providerId="ADAL" clId="{24FFA3A1-9083-4218-BD16-418FC2A97160}" dt="2025-04-23T08:44:30.252" v="477"/>
          <ac:spMkLst>
            <pc:docMk/>
            <pc:sldMk cId="238564029" sldId="359"/>
            <ac:spMk id="100" creationId="{CE93F210-8147-4FFC-9ADB-F19F13B6C513}"/>
          </ac:spMkLst>
        </pc:spChg>
        <pc:spChg chg="mod ord">
          <ac:chgData name="Jacobo de Nicolás Nuñez" userId="7c6829d1-1bf6-4417-b4a9-02cb8827630e" providerId="ADAL" clId="{24FFA3A1-9083-4218-BD16-418FC2A97160}" dt="2025-04-23T08:44:30.303" v="561"/>
          <ac:spMkLst>
            <pc:docMk/>
            <pc:sldMk cId="238564029" sldId="359"/>
            <ac:spMk id="102" creationId="{20E57B5E-E338-EDBE-061E-667F50DBAB22}"/>
          </ac:spMkLst>
        </pc:spChg>
        <pc:spChg chg="mod ord">
          <ac:chgData name="Jacobo de Nicolás Nuñez" userId="7c6829d1-1bf6-4417-b4a9-02cb8827630e" providerId="ADAL" clId="{24FFA3A1-9083-4218-BD16-418FC2A97160}" dt="2025-04-23T08:44:30.303" v="563"/>
          <ac:spMkLst>
            <pc:docMk/>
            <pc:sldMk cId="238564029" sldId="359"/>
            <ac:spMk id="103" creationId="{E4FDA200-C5C3-51EC-E091-174969F15CF1}"/>
          </ac:spMkLst>
        </pc:spChg>
        <pc:spChg chg="mod ord">
          <ac:chgData name="Jacobo de Nicolás Nuñez" userId="7c6829d1-1bf6-4417-b4a9-02cb8827630e" providerId="ADAL" clId="{24FFA3A1-9083-4218-BD16-418FC2A97160}" dt="2025-04-23T08:44:30.303" v="565"/>
          <ac:spMkLst>
            <pc:docMk/>
            <pc:sldMk cId="238564029" sldId="359"/>
            <ac:spMk id="104" creationId="{4D727647-3953-11B0-5724-B4054F39AE71}"/>
          </ac:spMkLst>
        </pc:spChg>
        <pc:spChg chg="mod ord">
          <ac:chgData name="Jacobo de Nicolás Nuñez" userId="7c6829d1-1bf6-4417-b4a9-02cb8827630e" providerId="ADAL" clId="{24FFA3A1-9083-4218-BD16-418FC2A97160}" dt="2025-04-23T08:44:30.303" v="567"/>
          <ac:spMkLst>
            <pc:docMk/>
            <pc:sldMk cId="238564029" sldId="359"/>
            <ac:spMk id="105" creationId="{DDF3D41E-E3D2-A7DA-0FE2-D720F9866CDF}"/>
          </ac:spMkLst>
        </pc:spChg>
        <pc:spChg chg="mod ord">
          <ac:chgData name="Jacobo de Nicolás Nuñez" userId="7c6829d1-1bf6-4417-b4a9-02cb8827630e" providerId="ADAL" clId="{24FFA3A1-9083-4218-BD16-418FC2A97160}" dt="2025-04-23T08:44:30.303" v="569"/>
          <ac:spMkLst>
            <pc:docMk/>
            <pc:sldMk cId="238564029" sldId="359"/>
            <ac:spMk id="106" creationId="{580A04CE-04BA-7767-3407-A71A7A920AF4}"/>
          </ac:spMkLst>
        </pc:spChg>
        <pc:spChg chg="mod ord">
          <ac:chgData name="Jacobo de Nicolás Nuñez" userId="7c6829d1-1bf6-4417-b4a9-02cb8827630e" providerId="ADAL" clId="{24FFA3A1-9083-4218-BD16-418FC2A97160}" dt="2025-04-23T08:44:30.303" v="571"/>
          <ac:spMkLst>
            <pc:docMk/>
            <pc:sldMk cId="238564029" sldId="359"/>
            <ac:spMk id="107" creationId="{BA04A24F-B7BA-CB7D-AD2F-0D94BC685785}"/>
          </ac:spMkLst>
        </pc:spChg>
        <pc:spChg chg="mod ord">
          <ac:chgData name="Jacobo de Nicolás Nuñez" userId="7c6829d1-1bf6-4417-b4a9-02cb8827630e" providerId="ADAL" clId="{24FFA3A1-9083-4218-BD16-418FC2A97160}" dt="2025-04-23T08:44:30.311" v="573"/>
          <ac:spMkLst>
            <pc:docMk/>
            <pc:sldMk cId="238564029" sldId="359"/>
            <ac:spMk id="108" creationId="{4F3CB5B3-2252-C2CF-8FF3-DD1EC8607962}"/>
          </ac:spMkLst>
        </pc:spChg>
        <pc:spChg chg="mod ord">
          <ac:chgData name="Jacobo de Nicolás Nuñez" userId="7c6829d1-1bf6-4417-b4a9-02cb8827630e" providerId="ADAL" clId="{24FFA3A1-9083-4218-BD16-418FC2A97160}" dt="2025-04-23T08:44:30.311" v="575"/>
          <ac:spMkLst>
            <pc:docMk/>
            <pc:sldMk cId="238564029" sldId="359"/>
            <ac:spMk id="109" creationId="{768BE5A3-F3BB-1C07-FAD3-28E5024A127B}"/>
          </ac:spMkLst>
        </pc:spChg>
        <pc:spChg chg="mod ord">
          <ac:chgData name="Jacobo de Nicolás Nuñez" userId="7c6829d1-1bf6-4417-b4a9-02cb8827630e" providerId="ADAL" clId="{24FFA3A1-9083-4218-BD16-418FC2A97160}" dt="2025-04-23T08:44:30.313" v="577"/>
          <ac:spMkLst>
            <pc:docMk/>
            <pc:sldMk cId="238564029" sldId="359"/>
            <ac:spMk id="119" creationId="{2AF92956-3AC2-1865-60D2-5CD518BC31EA}"/>
          </ac:spMkLst>
        </pc:spChg>
        <pc:spChg chg="mod ord">
          <ac:chgData name="Jacobo de Nicolás Nuñez" userId="7c6829d1-1bf6-4417-b4a9-02cb8827630e" providerId="ADAL" clId="{24FFA3A1-9083-4218-BD16-418FC2A97160}" dt="2025-04-23T08:44:30.313" v="579"/>
          <ac:spMkLst>
            <pc:docMk/>
            <pc:sldMk cId="238564029" sldId="359"/>
            <ac:spMk id="120" creationId="{B92134A3-2038-87E6-0B5A-A127F651C10E}"/>
          </ac:spMkLst>
        </pc:spChg>
        <pc:spChg chg="mod ord">
          <ac:chgData name="Jacobo de Nicolás Nuñez" userId="7c6829d1-1bf6-4417-b4a9-02cb8827630e" providerId="ADAL" clId="{24FFA3A1-9083-4218-BD16-418FC2A97160}" dt="2025-04-23T08:44:30.315" v="581"/>
          <ac:spMkLst>
            <pc:docMk/>
            <pc:sldMk cId="238564029" sldId="359"/>
            <ac:spMk id="121" creationId="{136C7D7E-DF6C-F639-FD16-5AF76832D4FA}"/>
          </ac:spMkLst>
        </pc:spChg>
        <pc:spChg chg="mod ord">
          <ac:chgData name="Jacobo de Nicolás Nuñez" userId="7c6829d1-1bf6-4417-b4a9-02cb8827630e" providerId="ADAL" clId="{24FFA3A1-9083-4218-BD16-418FC2A97160}" dt="2025-04-23T08:44:30.315" v="583"/>
          <ac:spMkLst>
            <pc:docMk/>
            <pc:sldMk cId="238564029" sldId="359"/>
            <ac:spMk id="122" creationId="{D0C49BB5-D196-31A0-CC24-85C415E82CD7}"/>
          </ac:spMkLst>
        </pc:spChg>
        <pc:spChg chg="mod ord">
          <ac:chgData name="Jacobo de Nicolás Nuñez" userId="7c6829d1-1bf6-4417-b4a9-02cb8827630e" providerId="ADAL" clId="{24FFA3A1-9083-4218-BD16-418FC2A97160}" dt="2025-04-23T08:44:30.315" v="585"/>
          <ac:spMkLst>
            <pc:docMk/>
            <pc:sldMk cId="238564029" sldId="359"/>
            <ac:spMk id="123" creationId="{0417D00D-168F-44E4-7004-950129B84399}"/>
          </ac:spMkLst>
        </pc:spChg>
        <pc:spChg chg="mod ord">
          <ac:chgData name="Jacobo de Nicolás Nuñez" userId="7c6829d1-1bf6-4417-b4a9-02cb8827630e" providerId="ADAL" clId="{24FFA3A1-9083-4218-BD16-418FC2A97160}" dt="2025-04-23T08:44:30.315" v="587"/>
          <ac:spMkLst>
            <pc:docMk/>
            <pc:sldMk cId="238564029" sldId="359"/>
            <ac:spMk id="124" creationId="{776F089C-BE23-E048-B469-281011579BFA}"/>
          </ac:spMkLst>
        </pc:spChg>
        <pc:spChg chg="mod ord">
          <ac:chgData name="Jacobo de Nicolás Nuñez" userId="7c6829d1-1bf6-4417-b4a9-02cb8827630e" providerId="ADAL" clId="{24FFA3A1-9083-4218-BD16-418FC2A97160}" dt="2025-04-23T08:44:30.315" v="589"/>
          <ac:spMkLst>
            <pc:docMk/>
            <pc:sldMk cId="238564029" sldId="359"/>
            <ac:spMk id="125" creationId="{A0ACAFB8-B344-FF0A-3BCD-01EED41C5184}"/>
          </ac:spMkLst>
        </pc:spChg>
        <pc:spChg chg="mod ord">
          <ac:chgData name="Jacobo de Nicolás Nuñez" userId="7c6829d1-1bf6-4417-b4a9-02cb8827630e" providerId="ADAL" clId="{24FFA3A1-9083-4218-BD16-418FC2A97160}" dt="2025-04-23T08:44:30.322" v="591"/>
          <ac:spMkLst>
            <pc:docMk/>
            <pc:sldMk cId="238564029" sldId="359"/>
            <ac:spMk id="126" creationId="{E32D28F9-838F-0CCA-D098-4E2E12B08F9F}"/>
          </ac:spMkLst>
        </pc:spChg>
        <pc:spChg chg="mod ord">
          <ac:chgData name="Jacobo de Nicolás Nuñez" userId="7c6829d1-1bf6-4417-b4a9-02cb8827630e" providerId="ADAL" clId="{24FFA3A1-9083-4218-BD16-418FC2A97160}" dt="2025-04-23T08:44:30.323" v="593"/>
          <ac:spMkLst>
            <pc:docMk/>
            <pc:sldMk cId="238564029" sldId="359"/>
            <ac:spMk id="127" creationId="{2E8452C6-1991-11B2-6CA5-3DBE757F6FF3}"/>
          </ac:spMkLst>
        </pc:spChg>
        <pc:spChg chg="mod ord">
          <ac:chgData name="Jacobo de Nicolás Nuñez" userId="7c6829d1-1bf6-4417-b4a9-02cb8827630e" providerId="ADAL" clId="{24FFA3A1-9083-4218-BD16-418FC2A97160}" dt="2025-04-23T08:44:30.323" v="595"/>
          <ac:spMkLst>
            <pc:docMk/>
            <pc:sldMk cId="238564029" sldId="359"/>
            <ac:spMk id="128" creationId="{654E79B4-BF71-E61E-D2F5-798EC3E119EB}"/>
          </ac:spMkLst>
        </pc:spChg>
        <pc:spChg chg="mod ord">
          <ac:chgData name="Jacobo de Nicolás Nuñez" userId="7c6829d1-1bf6-4417-b4a9-02cb8827630e" providerId="ADAL" clId="{24FFA3A1-9083-4218-BD16-418FC2A97160}" dt="2025-04-23T08:44:30.323" v="597"/>
          <ac:spMkLst>
            <pc:docMk/>
            <pc:sldMk cId="238564029" sldId="359"/>
            <ac:spMk id="129" creationId="{A2433F26-FD9D-9793-2479-13DE06116661}"/>
          </ac:spMkLst>
        </pc:spChg>
        <pc:spChg chg="mod ord">
          <ac:chgData name="Jacobo de Nicolás Nuñez" userId="7c6829d1-1bf6-4417-b4a9-02cb8827630e" providerId="ADAL" clId="{24FFA3A1-9083-4218-BD16-418FC2A97160}" dt="2025-04-23T08:44:30.323" v="599"/>
          <ac:spMkLst>
            <pc:docMk/>
            <pc:sldMk cId="238564029" sldId="359"/>
            <ac:spMk id="130" creationId="{F1A4255F-FEB6-E6C1-41EF-B5D625E803DA}"/>
          </ac:spMkLst>
        </pc:spChg>
        <pc:spChg chg="mod ord">
          <ac:chgData name="Jacobo de Nicolás Nuñez" userId="7c6829d1-1bf6-4417-b4a9-02cb8827630e" providerId="ADAL" clId="{24FFA3A1-9083-4218-BD16-418FC2A97160}" dt="2025-04-23T08:44:30.323" v="601"/>
          <ac:spMkLst>
            <pc:docMk/>
            <pc:sldMk cId="238564029" sldId="359"/>
            <ac:spMk id="131" creationId="{38795992-4074-1FC0-AE86-5D30FF6B552E}"/>
          </ac:spMkLst>
        </pc:spChg>
        <pc:spChg chg="mod ord">
          <ac:chgData name="Jacobo de Nicolás Nuñez" userId="7c6829d1-1bf6-4417-b4a9-02cb8827630e" providerId="ADAL" clId="{24FFA3A1-9083-4218-BD16-418FC2A97160}" dt="2025-04-23T08:44:30.323" v="603"/>
          <ac:spMkLst>
            <pc:docMk/>
            <pc:sldMk cId="238564029" sldId="359"/>
            <ac:spMk id="134" creationId="{D80AAA68-5874-B176-F7EB-85B51372CFF0}"/>
          </ac:spMkLst>
        </pc:spChg>
        <pc:spChg chg="mod ord">
          <ac:chgData name="Jacobo de Nicolás Nuñez" userId="7c6829d1-1bf6-4417-b4a9-02cb8827630e" providerId="ADAL" clId="{24FFA3A1-9083-4218-BD16-418FC2A97160}" dt="2025-04-23T08:44:30.323" v="605"/>
          <ac:spMkLst>
            <pc:docMk/>
            <pc:sldMk cId="238564029" sldId="359"/>
            <ac:spMk id="135" creationId="{CE16736F-A60F-B541-1A3D-DE87705C8D77}"/>
          </ac:spMkLst>
        </pc:spChg>
        <pc:grpChg chg="mod ord">
          <ac:chgData name="Jacobo de Nicolás Nuñez" userId="7c6829d1-1bf6-4417-b4a9-02cb8827630e" providerId="ADAL" clId="{24FFA3A1-9083-4218-BD16-418FC2A97160}" dt="2025-04-23T08:44:30.252" v="475"/>
          <ac:grpSpMkLst>
            <pc:docMk/>
            <pc:sldMk cId="238564029" sldId="359"/>
            <ac:grpSpMk id="10" creationId="{7266E573-1798-428A-A392-3E1BB714B573}"/>
          </ac:grpSpMkLst>
        </pc:grpChg>
        <pc:graphicFrameChg chg="add mod ord modVis">
          <ac:chgData name="Jacobo de Nicolás Nuñez" userId="7c6829d1-1bf6-4417-b4a9-02cb8827630e" providerId="ADAL" clId="{24FFA3A1-9083-4218-BD16-418FC2A97160}" dt="2025-04-23T08:44:30.457" v="619"/>
          <ac:graphicFrameMkLst>
            <pc:docMk/>
            <pc:sldMk cId="238564029" sldId="359"/>
            <ac:graphicFrameMk id="7" creationId="{16DD421C-AE4E-A56E-2111-AC29A14A571B}"/>
          </ac:graphicFrameMkLst>
        </pc:graphicFrameChg>
        <pc:picChg chg="mod ord">
          <ac:chgData name="Jacobo de Nicolás Nuñez" userId="7c6829d1-1bf6-4417-b4a9-02cb8827630e" providerId="ADAL" clId="{24FFA3A1-9083-4218-BD16-418FC2A97160}" dt="2025-04-23T08:44:30.264" v="497"/>
          <ac:picMkLst>
            <pc:docMk/>
            <pc:sldMk cId="238564029" sldId="359"/>
            <ac:picMk id="22" creationId="{1B54AB2C-08CF-DE9A-8C09-BB254988E06D}"/>
          </ac:picMkLst>
        </pc:picChg>
        <pc:picChg chg="mod ord">
          <ac:chgData name="Jacobo de Nicolás Nuñez" userId="7c6829d1-1bf6-4417-b4a9-02cb8827630e" providerId="ADAL" clId="{24FFA3A1-9083-4218-BD16-418FC2A97160}" dt="2025-04-23T08:44:30.232" v="449"/>
          <ac:picMkLst>
            <pc:docMk/>
            <pc:sldMk cId="238564029" sldId="359"/>
            <ac:picMk id="110" creationId="{E6F095C9-B05C-1A2F-9BD0-856E08338C9E}"/>
          </ac:picMkLst>
        </pc:picChg>
        <pc:picChg chg="mod ord">
          <ac:chgData name="Jacobo de Nicolás Nuñez" userId="7c6829d1-1bf6-4417-b4a9-02cb8827630e" providerId="ADAL" clId="{24FFA3A1-9083-4218-BD16-418FC2A97160}" dt="2025-04-23T08:44:30.234" v="451"/>
          <ac:picMkLst>
            <pc:docMk/>
            <pc:sldMk cId="238564029" sldId="359"/>
            <ac:picMk id="111" creationId="{74CCF0B6-39BA-8D8A-043C-563C3D885A54}"/>
          </ac:picMkLst>
        </pc:picChg>
        <pc:picChg chg="mod ord">
          <ac:chgData name="Jacobo de Nicolás Nuñez" userId="7c6829d1-1bf6-4417-b4a9-02cb8827630e" providerId="ADAL" clId="{24FFA3A1-9083-4218-BD16-418FC2A97160}" dt="2025-04-23T08:44:30.234" v="453"/>
          <ac:picMkLst>
            <pc:docMk/>
            <pc:sldMk cId="238564029" sldId="359"/>
            <ac:picMk id="112" creationId="{66EA52BF-1901-655A-9FB2-AE9573127135}"/>
          </ac:picMkLst>
        </pc:picChg>
        <pc:picChg chg="mod ord">
          <ac:chgData name="Jacobo de Nicolás Nuñez" userId="7c6829d1-1bf6-4417-b4a9-02cb8827630e" providerId="ADAL" clId="{24FFA3A1-9083-4218-BD16-418FC2A97160}" dt="2025-04-23T08:44:30.234" v="455"/>
          <ac:picMkLst>
            <pc:docMk/>
            <pc:sldMk cId="238564029" sldId="359"/>
            <ac:picMk id="113" creationId="{5A89DD19-37BD-8689-CC4E-208A144E45DB}"/>
          </ac:picMkLst>
        </pc:picChg>
        <pc:picChg chg="mod ord">
          <ac:chgData name="Jacobo de Nicolás Nuñez" userId="7c6829d1-1bf6-4417-b4a9-02cb8827630e" providerId="ADAL" clId="{24FFA3A1-9083-4218-BD16-418FC2A97160}" dt="2025-04-23T08:44:30.234" v="457"/>
          <ac:picMkLst>
            <pc:docMk/>
            <pc:sldMk cId="238564029" sldId="359"/>
            <ac:picMk id="114" creationId="{4487B190-3435-C385-C4CF-479992D49874}"/>
          </ac:picMkLst>
        </pc:picChg>
        <pc:picChg chg="mod ord">
          <ac:chgData name="Jacobo de Nicolás Nuñez" userId="7c6829d1-1bf6-4417-b4a9-02cb8827630e" providerId="ADAL" clId="{24FFA3A1-9083-4218-BD16-418FC2A97160}" dt="2025-04-23T08:44:30.234" v="459"/>
          <ac:picMkLst>
            <pc:docMk/>
            <pc:sldMk cId="238564029" sldId="359"/>
            <ac:picMk id="115" creationId="{011846DD-4E0E-C6A4-51AF-8BD2052997D7}"/>
          </ac:picMkLst>
        </pc:picChg>
        <pc:picChg chg="mod ord">
          <ac:chgData name="Jacobo de Nicolás Nuñez" userId="7c6829d1-1bf6-4417-b4a9-02cb8827630e" providerId="ADAL" clId="{24FFA3A1-9083-4218-BD16-418FC2A97160}" dt="2025-04-23T08:44:30.244" v="461"/>
          <ac:picMkLst>
            <pc:docMk/>
            <pc:sldMk cId="238564029" sldId="359"/>
            <ac:picMk id="116" creationId="{7717C062-DCBB-340B-C782-75DF944B1AA4}"/>
          </ac:picMkLst>
        </pc:picChg>
        <pc:picChg chg="mod ord">
          <ac:chgData name="Jacobo de Nicolás Nuñez" userId="7c6829d1-1bf6-4417-b4a9-02cb8827630e" providerId="ADAL" clId="{24FFA3A1-9083-4218-BD16-418FC2A97160}" dt="2025-04-23T08:44:30.244" v="463"/>
          <ac:picMkLst>
            <pc:docMk/>
            <pc:sldMk cId="238564029" sldId="359"/>
            <ac:picMk id="117" creationId="{6293B27D-8FC8-210C-14CA-7955CDB852A8}"/>
          </ac:picMkLst>
        </pc:picChg>
        <pc:picChg chg="mod ord">
          <ac:chgData name="Jacobo de Nicolás Nuñez" userId="7c6829d1-1bf6-4417-b4a9-02cb8827630e" providerId="ADAL" clId="{24FFA3A1-9083-4218-BD16-418FC2A97160}" dt="2025-04-23T08:44:30.244" v="465"/>
          <ac:picMkLst>
            <pc:docMk/>
            <pc:sldMk cId="238564029" sldId="359"/>
            <ac:picMk id="118" creationId="{1578C174-44E5-3022-6D7B-0C6F1B78F948}"/>
          </ac:picMkLst>
        </pc:picChg>
        <pc:picChg chg="mod ord">
          <ac:chgData name="Jacobo de Nicolás Nuñez" userId="7c6829d1-1bf6-4417-b4a9-02cb8827630e" providerId="ADAL" clId="{24FFA3A1-9083-4218-BD16-418FC2A97160}" dt="2025-04-23T08:44:30.244" v="467"/>
          <ac:picMkLst>
            <pc:docMk/>
            <pc:sldMk cId="238564029" sldId="359"/>
            <ac:picMk id="138" creationId="{4E323190-9043-1DAC-50A6-B495F88C6039}"/>
          </ac:picMkLst>
        </pc:picChg>
        <pc:picChg chg="mod ord">
          <ac:chgData name="Jacobo de Nicolás Nuñez" userId="7c6829d1-1bf6-4417-b4a9-02cb8827630e" providerId="ADAL" clId="{24FFA3A1-9083-4218-BD16-418FC2A97160}" dt="2025-04-23T08:44:30.244" v="469"/>
          <ac:picMkLst>
            <pc:docMk/>
            <pc:sldMk cId="238564029" sldId="359"/>
            <ac:picMk id="139" creationId="{7824A5C9-A7C2-0F4C-C58C-A57763C78FAE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2:00:17.044" v="985" actId="14100"/>
        <pc:sldMkLst>
          <pc:docMk/>
          <pc:sldMk cId="2743797092" sldId="360"/>
        </pc:sldMkLst>
        <pc:picChg chg="mod">
          <ac:chgData name="Jacobo de Nicolás Nuñez" userId="7c6829d1-1bf6-4417-b4a9-02cb8827630e" providerId="ADAL" clId="{24FFA3A1-9083-4218-BD16-418FC2A97160}" dt="2025-04-23T12:00:17.044" v="985" actId="14100"/>
          <ac:picMkLst>
            <pc:docMk/>
            <pc:sldMk cId="2743797092" sldId="360"/>
            <ac:picMk id="12" creationId="{B9747606-7C83-DF73-9279-DB75F7924190}"/>
          </ac:picMkLst>
        </pc:picChg>
        <pc:picChg chg="mod">
          <ac:chgData name="Jacobo de Nicolás Nuñez" userId="7c6829d1-1bf6-4417-b4a9-02cb8827630e" providerId="ADAL" clId="{24FFA3A1-9083-4218-BD16-418FC2A97160}" dt="2025-04-23T12:00:17.044" v="985" actId="14100"/>
          <ac:picMkLst>
            <pc:docMk/>
            <pc:sldMk cId="2743797092" sldId="360"/>
            <ac:picMk id="13" creationId="{BC08443F-DF66-29A5-EB4F-FD327D9E4359}"/>
          </ac:picMkLst>
        </pc:picChg>
        <pc:picChg chg="mod">
          <ac:chgData name="Jacobo de Nicolás Nuñez" userId="7c6829d1-1bf6-4417-b4a9-02cb8827630e" providerId="ADAL" clId="{24FFA3A1-9083-4218-BD16-418FC2A97160}" dt="2025-04-23T12:00:17.044" v="985" actId="14100"/>
          <ac:picMkLst>
            <pc:docMk/>
            <pc:sldMk cId="2743797092" sldId="360"/>
            <ac:picMk id="14" creationId="{16C91A62-6E7B-4FD9-E18B-0BA794B20192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1:08:32.238" v="701" actId="14826"/>
        <pc:sldMkLst>
          <pc:docMk/>
          <pc:sldMk cId="2310231329" sldId="363"/>
        </pc:sldMkLst>
        <pc:picChg chg="mod">
          <ac:chgData name="Jacobo de Nicolás Nuñez" userId="7c6829d1-1bf6-4417-b4a9-02cb8827630e" providerId="ADAL" clId="{24FFA3A1-9083-4218-BD16-418FC2A97160}" dt="2025-04-23T11:08:24.072" v="700" actId="14826"/>
          <ac:picMkLst>
            <pc:docMk/>
            <pc:sldMk cId="2310231329" sldId="363"/>
            <ac:picMk id="19" creationId="{9D4F5821-094D-D950-7839-F088FB597DDF}"/>
          </ac:picMkLst>
        </pc:picChg>
        <pc:picChg chg="mod">
          <ac:chgData name="Jacobo de Nicolás Nuñez" userId="7c6829d1-1bf6-4417-b4a9-02cb8827630e" providerId="ADAL" clId="{24FFA3A1-9083-4218-BD16-418FC2A97160}" dt="2025-04-23T11:08:32.238" v="701" actId="14826"/>
          <ac:picMkLst>
            <pc:docMk/>
            <pc:sldMk cId="2310231329" sldId="363"/>
            <ac:picMk id="20" creationId="{B22DE9DC-4EC0-9BF7-D311-565B18DA2FC5}"/>
          </ac:picMkLst>
        </pc:picChg>
      </pc:sldChg>
      <pc:sldChg chg="addSp modSp mod">
        <pc:chgData name="Jacobo de Nicolás Nuñez" userId="7c6829d1-1bf6-4417-b4a9-02cb8827630e" providerId="ADAL" clId="{24FFA3A1-9083-4218-BD16-418FC2A97160}" dt="2025-04-23T12:07:34.075" v="1068" actId="14826"/>
        <pc:sldMkLst>
          <pc:docMk/>
          <pc:sldMk cId="3599572134" sldId="364"/>
        </pc:sldMkLst>
        <pc:spChg chg="add mod">
          <ac:chgData name="Jacobo de Nicolás Nuñez" userId="7c6829d1-1bf6-4417-b4a9-02cb8827630e" providerId="ADAL" clId="{24FFA3A1-9083-4218-BD16-418FC2A97160}" dt="2025-04-23T08:45:53.009" v="622"/>
          <ac:spMkLst>
            <pc:docMk/>
            <pc:sldMk cId="3599572134" sldId="364"/>
            <ac:spMk id="11" creationId="{F11C472F-FE8A-EFB1-3420-13B0CFC3620E}"/>
          </ac:spMkLst>
        </pc:spChg>
        <pc:picChg chg="mod">
          <ac:chgData name="Jacobo de Nicolás Nuñez" userId="7c6829d1-1bf6-4417-b4a9-02cb8827630e" providerId="ADAL" clId="{24FFA3A1-9083-4218-BD16-418FC2A97160}" dt="2025-04-23T12:06:13.235" v="1066" actId="1076"/>
          <ac:picMkLst>
            <pc:docMk/>
            <pc:sldMk cId="3599572134" sldId="364"/>
            <ac:picMk id="82" creationId="{F2ADE737-3B9C-4798-ACB3-D54E8EF2A2A0}"/>
          </ac:picMkLst>
        </pc:picChg>
        <pc:picChg chg="mod">
          <ac:chgData name="Jacobo de Nicolás Nuñez" userId="7c6829d1-1bf6-4417-b4a9-02cb8827630e" providerId="ADAL" clId="{24FFA3A1-9083-4218-BD16-418FC2A97160}" dt="2025-04-23T12:07:23.471" v="1067" actId="14826"/>
          <ac:picMkLst>
            <pc:docMk/>
            <pc:sldMk cId="3599572134" sldId="364"/>
            <ac:picMk id="89" creationId="{07F97215-B374-55C4-4C20-63A896482A31}"/>
          </ac:picMkLst>
        </pc:picChg>
        <pc:picChg chg="mod">
          <ac:chgData name="Jacobo de Nicolás Nuñez" userId="7c6829d1-1bf6-4417-b4a9-02cb8827630e" providerId="ADAL" clId="{24FFA3A1-9083-4218-BD16-418FC2A97160}" dt="2025-04-23T08:45:46.755" v="621" actId="14826"/>
          <ac:picMkLst>
            <pc:docMk/>
            <pc:sldMk cId="3599572134" sldId="364"/>
            <ac:picMk id="92" creationId="{215DCA33-5431-135E-74BA-BD69C513B3E2}"/>
          </ac:picMkLst>
        </pc:picChg>
        <pc:picChg chg="mod">
          <ac:chgData name="Jacobo de Nicolás Nuñez" userId="7c6829d1-1bf6-4417-b4a9-02cb8827630e" providerId="ADAL" clId="{24FFA3A1-9083-4218-BD16-418FC2A97160}" dt="2025-04-23T08:45:34.655" v="620" actId="14826"/>
          <ac:picMkLst>
            <pc:docMk/>
            <pc:sldMk cId="3599572134" sldId="364"/>
            <ac:picMk id="93" creationId="{30C6DDCD-3606-6112-39F3-08782EA986B8}"/>
          </ac:picMkLst>
        </pc:picChg>
        <pc:picChg chg="mod">
          <ac:chgData name="Jacobo de Nicolás Nuñez" userId="7c6829d1-1bf6-4417-b4a9-02cb8827630e" providerId="ADAL" clId="{24FFA3A1-9083-4218-BD16-418FC2A97160}" dt="2025-04-23T12:07:34.075" v="1068" actId="14826"/>
          <ac:picMkLst>
            <pc:docMk/>
            <pc:sldMk cId="3599572134" sldId="364"/>
            <ac:picMk id="94" creationId="{83294475-84DE-585D-97D8-B4FBE65B7819}"/>
          </ac:picMkLst>
        </pc:picChg>
        <pc:picChg chg="mod">
          <ac:chgData name="Jacobo de Nicolás Nuñez" userId="7c6829d1-1bf6-4417-b4a9-02cb8827630e" providerId="ADAL" clId="{24FFA3A1-9083-4218-BD16-418FC2A97160}" dt="2025-04-23T08:47:50" v="624" actId="14826"/>
          <ac:picMkLst>
            <pc:docMk/>
            <pc:sldMk cId="3599572134" sldId="364"/>
            <ac:picMk id="95" creationId="{6EE8F799-7ABB-A76A-209C-800A51952CB1}"/>
          </ac:picMkLst>
        </pc:picChg>
        <pc:picChg chg="mod">
          <ac:chgData name="Jacobo de Nicolás Nuñez" userId="7c6829d1-1bf6-4417-b4a9-02cb8827630e" providerId="ADAL" clId="{24FFA3A1-9083-4218-BD16-418FC2A97160}" dt="2025-04-23T08:48:04.375" v="625" actId="14826"/>
          <ac:picMkLst>
            <pc:docMk/>
            <pc:sldMk cId="3599572134" sldId="364"/>
            <ac:picMk id="96" creationId="{36317504-9879-29C4-4CAB-BD6027B238C7}"/>
          </ac:picMkLst>
        </pc:picChg>
        <pc:picChg chg="mod">
          <ac:chgData name="Jacobo de Nicolás Nuñez" userId="7c6829d1-1bf6-4417-b4a9-02cb8827630e" providerId="ADAL" clId="{24FFA3A1-9083-4218-BD16-418FC2A97160}" dt="2025-04-23T08:49:21.219" v="626" actId="14826"/>
          <ac:picMkLst>
            <pc:docMk/>
            <pc:sldMk cId="3599572134" sldId="364"/>
            <ac:picMk id="97" creationId="{BF8DA56D-0A54-A266-1F59-948CC206AC13}"/>
          </ac:picMkLst>
        </pc:picChg>
        <pc:picChg chg="mod">
          <ac:chgData name="Jacobo de Nicolás Nuñez" userId="7c6829d1-1bf6-4417-b4a9-02cb8827630e" providerId="ADAL" clId="{24FFA3A1-9083-4218-BD16-418FC2A97160}" dt="2025-04-23T12:06:06.975" v="1065" actId="1076"/>
          <ac:picMkLst>
            <pc:docMk/>
            <pc:sldMk cId="3599572134" sldId="364"/>
            <ac:picMk id="98" creationId="{E4501FBF-DD33-76D8-12BB-BF7028B2DCDF}"/>
          </ac:picMkLst>
        </pc:picChg>
        <pc:picChg chg="mod">
          <ac:chgData name="Jacobo de Nicolás Nuñez" userId="7c6829d1-1bf6-4417-b4a9-02cb8827630e" providerId="ADAL" clId="{24FFA3A1-9083-4218-BD16-418FC2A97160}" dt="2025-04-23T08:46:12.870" v="623" actId="14826"/>
          <ac:picMkLst>
            <pc:docMk/>
            <pc:sldMk cId="3599572134" sldId="364"/>
            <ac:picMk id="110" creationId="{5594FACB-FB23-6478-A368-A123E8F3F273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2:04:52.451" v="1058" actId="14826"/>
        <pc:sldMkLst>
          <pc:docMk/>
          <pc:sldMk cId="2563951102" sldId="365"/>
        </pc:sldMkLst>
        <pc:picChg chg="mod">
          <ac:chgData name="Jacobo de Nicolás Nuñez" userId="7c6829d1-1bf6-4417-b4a9-02cb8827630e" providerId="ADAL" clId="{24FFA3A1-9083-4218-BD16-418FC2A97160}" dt="2025-04-23T12:04:52.451" v="1058" actId="14826"/>
          <ac:picMkLst>
            <pc:docMk/>
            <pc:sldMk cId="2563951102" sldId="365"/>
            <ac:picMk id="102" creationId="{3E0A7FCE-0C10-35B0-8350-D69917ADD362}"/>
          </ac:picMkLst>
        </pc:picChg>
        <pc:picChg chg="mod">
          <ac:chgData name="Jacobo de Nicolás Nuñez" userId="7c6829d1-1bf6-4417-b4a9-02cb8827630e" providerId="ADAL" clId="{24FFA3A1-9083-4218-BD16-418FC2A97160}" dt="2025-04-23T09:07:48.332" v="647" actId="14100"/>
          <ac:picMkLst>
            <pc:docMk/>
            <pc:sldMk cId="2563951102" sldId="365"/>
            <ac:picMk id="109" creationId="{FF331A87-84C2-E853-AC94-34116AC04CE4}"/>
          </ac:picMkLst>
        </pc:picChg>
        <pc:picChg chg="mod">
          <ac:chgData name="Jacobo de Nicolás Nuñez" userId="7c6829d1-1bf6-4417-b4a9-02cb8827630e" providerId="ADAL" clId="{24FFA3A1-9083-4218-BD16-418FC2A97160}" dt="2025-04-23T09:07:48.332" v="647" actId="14100"/>
          <ac:picMkLst>
            <pc:docMk/>
            <pc:sldMk cId="2563951102" sldId="365"/>
            <ac:picMk id="110" creationId="{A743BC89-D759-CDF4-4BEC-72071280CF72}"/>
          </ac:picMkLst>
        </pc:picChg>
        <pc:picChg chg="mod">
          <ac:chgData name="Jacobo de Nicolás Nuñez" userId="7c6829d1-1bf6-4417-b4a9-02cb8827630e" providerId="ADAL" clId="{24FFA3A1-9083-4218-BD16-418FC2A97160}" dt="2025-04-23T09:07:48.332" v="647" actId="14100"/>
          <ac:picMkLst>
            <pc:docMk/>
            <pc:sldMk cId="2563951102" sldId="365"/>
            <ac:picMk id="111" creationId="{F1E2D2D2-BF5E-A5EA-F168-1B52552A42FA}"/>
          </ac:picMkLst>
        </pc:picChg>
        <pc:picChg chg="mod">
          <ac:chgData name="Jacobo de Nicolás Nuñez" userId="7c6829d1-1bf6-4417-b4a9-02cb8827630e" providerId="ADAL" clId="{24FFA3A1-9083-4218-BD16-418FC2A97160}" dt="2025-04-23T09:07:48.332" v="647" actId="14100"/>
          <ac:picMkLst>
            <pc:docMk/>
            <pc:sldMk cId="2563951102" sldId="365"/>
            <ac:picMk id="112" creationId="{7B6B2B66-CFE2-E0BF-FCC0-BD288034F219}"/>
          </ac:picMkLst>
        </pc:picChg>
        <pc:picChg chg="mod">
          <ac:chgData name="Jacobo de Nicolás Nuñez" userId="7c6829d1-1bf6-4417-b4a9-02cb8827630e" providerId="ADAL" clId="{24FFA3A1-9083-4218-BD16-418FC2A97160}" dt="2025-04-23T09:07:48.332" v="647" actId="14100"/>
          <ac:picMkLst>
            <pc:docMk/>
            <pc:sldMk cId="2563951102" sldId="365"/>
            <ac:picMk id="113" creationId="{B2BAB7D4-D44D-4FF1-F09F-ABDDAD709F06}"/>
          </ac:picMkLst>
        </pc:picChg>
        <pc:picChg chg="mod">
          <ac:chgData name="Jacobo de Nicolás Nuñez" userId="7c6829d1-1bf6-4417-b4a9-02cb8827630e" providerId="ADAL" clId="{24FFA3A1-9083-4218-BD16-418FC2A97160}" dt="2025-04-23T09:07:48.332" v="647" actId="14100"/>
          <ac:picMkLst>
            <pc:docMk/>
            <pc:sldMk cId="2563951102" sldId="365"/>
            <ac:picMk id="114" creationId="{DA1736D5-CD92-3C11-6B17-50BCD918D567}"/>
          </ac:picMkLst>
        </pc:picChg>
        <pc:picChg chg="mod">
          <ac:chgData name="Jacobo de Nicolás Nuñez" userId="7c6829d1-1bf6-4417-b4a9-02cb8827630e" providerId="ADAL" clId="{24FFA3A1-9083-4218-BD16-418FC2A97160}" dt="2025-04-23T08:58:51.011" v="636" actId="14826"/>
          <ac:picMkLst>
            <pc:docMk/>
            <pc:sldMk cId="2563951102" sldId="365"/>
            <ac:picMk id="115" creationId="{4D073447-2304-2F06-7E04-6857730CC84F}"/>
          </ac:picMkLst>
        </pc:picChg>
        <pc:picChg chg="mod">
          <ac:chgData name="Jacobo de Nicolás Nuñez" userId="7c6829d1-1bf6-4417-b4a9-02cb8827630e" providerId="ADAL" clId="{24FFA3A1-9083-4218-BD16-418FC2A97160}" dt="2025-04-23T09:07:48.332" v="647" actId="14100"/>
          <ac:picMkLst>
            <pc:docMk/>
            <pc:sldMk cId="2563951102" sldId="365"/>
            <ac:picMk id="116" creationId="{21767D26-9741-AA3D-1A5F-478DF1C8AC0B}"/>
          </ac:picMkLst>
        </pc:picChg>
        <pc:picChg chg="mod">
          <ac:chgData name="Jacobo de Nicolás Nuñez" userId="7c6829d1-1bf6-4417-b4a9-02cb8827630e" providerId="ADAL" clId="{24FFA3A1-9083-4218-BD16-418FC2A97160}" dt="2025-04-23T09:05:31.489" v="638" actId="14826"/>
          <ac:picMkLst>
            <pc:docMk/>
            <pc:sldMk cId="2563951102" sldId="365"/>
            <ac:picMk id="117" creationId="{55460398-AEB6-F053-2483-9C9EE4F65572}"/>
          </ac:picMkLst>
        </pc:picChg>
        <pc:picChg chg="mod">
          <ac:chgData name="Jacobo de Nicolás Nuñez" userId="7c6829d1-1bf6-4417-b4a9-02cb8827630e" providerId="ADAL" clId="{24FFA3A1-9083-4218-BD16-418FC2A97160}" dt="2025-04-23T09:07:48.332" v="647" actId="14100"/>
          <ac:picMkLst>
            <pc:docMk/>
            <pc:sldMk cId="2563951102" sldId="365"/>
            <ac:picMk id="130" creationId="{9BA0697E-2513-DB7B-28C7-D8467D802C25}"/>
          </ac:picMkLst>
        </pc:picChg>
        <pc:picChg chg="mod">
          <ac:chgData name="Jacobo de Nicolás Nuñez" userId="7c6829d1-1bf6-4417-b4a9-02cb8827630e" providerId="ADAL" clId="{24FFA3A1-9083-4218-BD16-418FC2A97160}" dt="2025-04-23T09:07:48.332" v="647" actId="14100"/>
          <ac:picMkLst>
            <pc:docMk/>
            <pc:sldMk cId="2563951102" sldId="365"/>
            <ac:picMk id="131" creationId="{B5028E5A-596D-40F9-D911-2DD4DBE6B262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2:03:19.934" v="1056" actId="1076"/>
        <pc:sldMkLst>
          <pc:docMk/>
          <pc:sldMk cId="2191538284" sldId="366"/>
        </pc:sldMkLst>
        <pc:picChg chg="mod">
          <ac:chgData name="Jacobo de Nicolás Nuñez" userId="7c6829d1-1bf6-4417-b4a9-02cb8827630e" providerId="ADAL" clId="{24FFA3A1-9083-4218-BD16-418FC2A97160}" dt="2025-04-23T09:33:42.045" v="690" actId="14826"/>
          <ac:picMkLst>
            <pc:docMk/>
            <pc:sldMk cId="2191538284" sldId="366"/>
            <ac:picMk id="55" creationId="{029C1EA9-AF86-EF13-5C0A-074A2AFE4688}"/>
          </ac:picMkLst>
        </pc:picChg>
        <pc:picChg chg="mod">
          <ac:chgData name="Jacobo de Nicolás Nuñez" userId="7c6829d1-1bf6-4417-b4a9-02cb8827630e" providerId="ADAL" clId="{24FFA3A1-9083-4218-BD16-418FC2A97160}" dt="2025-04-23T09:35:01.230" v="693" actId="14826"/>
          <ac:picMkLst>
            <pc:docMk/>
            <pc:sldMk cId="2191538284" sldId="366"/>
            <ac:picMk id="56" creationId="{609A0C31-867E-14DD-1A70-3436651E1F82}"/>
          </ac:picMkLst>
        </pc:picChg>
        <pc:picChg chg="mod">
          <ac:chgData name="Jacobo de Nicolás Nuñez" userId="7c6829d1-1bf6-4417-b4a9-02cb8827630e" providerId="ADAL" clId="{24FFA3A1-9083-4218-BD16-418FC2A97160}" dt="2025-04-23T09:34:51.661" v="692" actId="14826"/>
          <ac:picMkLst>
            <pc:docMk/>
            <pc:sldMk cId="2191538284" sldId="366"/>
            <ac:picMk id="57" creationId="{6CC69D58-A0A8-0FE1-959F-A3759F16AFF4}"/>
          </ac:picMkLst>
        </pc:picChg>
        <pc:picChg chg="mod">
          <ac:chgData name="Jacobo de Nicolás Nuñez" userId="7c6829d1-1bf6-4417-b4a9-02cb8827630e" providerId="ADAL" clId="{24FFA3A1-9083-4218-BD16-418FC2A97160}" dt="2025-04-23T09:56:30.646" v="698" actId="14826"/>
          <ac:picMkLst>
            <pc:docMk/>
            <pc:sldMk cId="2191538284" sldId="366"/>
            <ac:picMk id="58" creationId="{DD1F13CC-CD31-C8BC-5D3D-012E360A4751}"/>
          </ac:picMkLst>
        </pc:picChg>
        <pc:picChg chg="mod">
          <ac:chgData name="Jacobo de Nicolás Nuñez" userId="7c6829d1-1bf6-4417-b4a9-02cb8827630e" providerId="ADAL" clId="{24FFA3A1-9083-4218-BD16-418FC2A97160}" dt="2025-04-23T09:56:22.127" v="697" actId="14826"/>
          <ac:picMkLst>
            <pc:docMk/>
            <pc:sldMk cId="2191538284" sldId="366"/>
            <ac:picMk id="59" creationId="{4E5EA1DB-94D9-AEA7-D656-38FC412A6A64}"/>
          </ac:picMkLst>
        </pc:picChg>
        <pc:picChg chg="mod">
          <ac:chgData name="Jacobo de Nicolás Nuñez" userId="7c6829d1-1bf6-4417-b4a9-02cb8827630e" providerId="ADAL" clId="{24FFA3A1-9083-4218-BD16-418FC2A97160}" dt="2025-04-23T09:56:38.604" v="699" actId="14826"/>
          <ac:picMkLst>
            <pc:docMk/>
            <pc:sldMk cId="2191538284" sldId="366"/>
            <ac:picMk id="60" creationId="{C1B02D15-9B3A-16D1-DDD6-BEB1D1E1C37F}"/>
          </ac:picMkLst>
        </pc:picChg>
        <pc:picChg chg="mod">
          <ac:chgData name="Jacobo de Nicolás Nuñez" userId="7c6829d1-1bf6-4417-b4a9-02cb8827630e" providerId="ADAL" clId="{24FFA3A1-9083-4218-BD16-418FC2A97160}" dt="2025-04-23T09:34:19.933" v="691" actId="14826"/>
          <ac:picMkLst>
            <pc:docMk/>
            <pc:sldMk cId="2191538284" sldId="366"/>
            <ac:picMk id="61" creationId="{ED9AC0EA-E7FC-D94D-C9C5-10B015D29E8C}"/>
          </ac:picMkLst>
        </pc:picChg>
        <pc:picChg chg="mod">
          <ac:chgData name="Jacobo de Nicolás Nuñez" userId="7c6829d1-1bf6-4417-b4a9-02cb8827630e" providerId="ADAL" clId="{24FFA3A1-9083-4218-BD16-418FC2A97160}" dt="2025-04-23T09:54:35.872" v="694" actId="14826"/>
          <ac:picMkLst>
            <pc:docMk/>
            <pc:sldMk cId="2191538284" sldId="366"/>
            <ac:picMk id="62" creationId="{55B9DEF6-9150-61F2-6220-16E7981052C7}"/>
          </ac:picMkLst>
        </pc:picChg>
        <pc:picChg chg="mod">
          <ac:chgData name="Jacobo de Nicolás Nuñez" userId="7c6829d1-1bf6-4417-b4a9-02cb8827630e" providerId="ADAL" clId="{24FFA3A1-9083-4218-BD16-418FC2A97160}" dt="2025-04-23T09:55:31.811" v="695" actId="14826"/>
          <ac:picMkLst>
            <pc:docMk/>
            <pc:sldMk cId="2191538284" sldId="366"/>
            <ac:picMk id="63" creationId="{EBF30755-4B59-CB8C-BA7C-32042A90C3F1}"/>
          </ac:picMkLst>
        </pc:picChg>
        <pc:picChg chg="mod">
          <ac:chgData name="Jacobo de Nicolás Nuñez" userId="7c6829d1-1bf6-4417-b4a9-02cb8827630e" providerId="ADAL" clId="{24FFA3A1-9083-4218-BD16-418FC2A97160}" dt="2025-04-23T09:55:43.364" v="696" actId="14826"/>
          <ac:picMkLst>
            <pc:docMk/>
            <pc:sldMk cId="2191538284" sldId="366"/>
            <ac:picMk id="64" creationId="{31BE5642-A2AC-A84B-7D5B-370CC1282B71}"/>
          </ac:picMkLst>
        </pc:picChg>
        <pc:picChg chg="mod">
          <ac:chgData name="Jacobo de Nicolás Nuñez" userId="7c6829d1-1bf6-4417-b4a9-02cb8827630e" providerId="ADAL" clId="{24FFA3A1-9083-4218-BD16-418FC2A97160}" dt="2025-04-23T12:03:19.934" v="1056" actId="1076"/>
          <ac:picMkLst>
            <pc:docMk/>
            <pc:sldMk cId="2191538284" sldId="366"/>
            <ac:picMk id="65" creationId="{DCB81D3C-D8EA-333C-C499-2BC76AFF5E84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1:36:29.799" v="949" actId="14100"/>
        <pc:sldMkLst>
          <pc:docMk/>
          <pc:sldMk cId="755809019" sldId="367"/>
        </pc:sldMkLst>
        <pc:picChg chg="mod">
          <ac:chgData name="Jacobo de Nicolás Nuñez" userId="7c6829d1-1bf6-4417-b4a9-02cb8827630e" providerId="ADAL" clId="{24FFA3A1-9083-4218-BD16-418FC2A97160}" dt="2025-04-23T11:36:29.799" v="949" actId="14100"/>
          <ac:picMkLst>
            <pc:docMk/>
            <pc:sldMk cId="755809019" sldId="367"/>
            <ac:picMk id="16" creationId="{EFE6F0FB-5496-498F-A062-2391F55368BC}"/>
          </ac:picMkLst>
        </pc:picChg>
        <pc:picChg chg="mod">
          <ac:chgData name="Jacobo de Nicolás Nuñez" userId="7c6829d1-1bf6-4417-b4a9-02cb8827630e" providerId="ADAL" clId="{24FFA3A1-9083-4218-BD16-418FC2A97160}" dt="2025-04-23T11:36:29.799" v="949" actId="14100"/>
          <ac:picMkLst>
            <pc:docMk/>
            <pc:sldMk cId="755809019" sldId="367"/>
            <ac:picMk id="17" creationId="{FDC34153-BCE7-4067-AEA6-EE37901BA2AB}"/>
          </ac:picMkLst>
        </pc:picChg>
        <pc:picChg chg="mod">
          <ac:chgData name="Jacobo de Nicolás Nuñez" userId="7c6829d1-1bf6-4417-b4a9-02cb8827630e" providerId="ADAL" clId="{24FFA3A1-9083-4218-BD16-418FC2A97160}" dt="2025-04-23T11:36:29.799" v="949" actId="14100"/>
          <ac:picMkLst>
            <pc:docMk/>
            <pc:sldMk cId="755809019" sldId="367"/>
            <ac:picMk id="18" creationId="{014021E8-9820-43A8-973B-A1AD5A2AC7DE}"/>
          </ac:picMkLst>
        </pc:picChg>
        <pc:picChg chg="mod">
          <ac:chgData name="Jacobo de Nicolás Nuñez" userId="7c6829d1-1bf6-4417-b4a9-02cb8827630e" providerId="ADAL" clId="{24FFA3A1-9083-4218-BD16-418FC2A97160}" dt="2025-04-23T11:36:29.799" v="949" actId="14100"/>
          <ac:picMkLst>
            <pc:docMk/>
            <pc:sldMk cId="755809019" sldId="367"/>
            <ac:picMk id="36" creationId="{41582D97-F770-6D8B-ED2A-D2FE26BAEE29}"/>
          </ac:picMkLst>
        </pc:picChg>
        <pc:picChg chg="mod">
          <ac:chgData name="Jacobo de Nicolás Nuñez" userId="7c6829d1-1bf6-4417-b4a9-02cb8827630e" providerId="ADAL" clId="{24FFA3A1-9083-4218-BD16-418FC2A97160}" dt="2025-04-23T11:36:29.799" v="949" actId="14100"/>
          <ac:picMkLst>
            <pc:docMk/>
            <pc:sldMk cId="755809019" sldId="367"/>
            <ac:picMk id="37" creationId="{547CCB28-E407-0ABD-A41D-7F09FA52B7D0}"/>
          </ac:picMkLst>
        </pc:picChg>
        <pc:picChg chg="mod">
          <ac:chgData name="Jacobo de Nicolás Nuñez" userId="7c6829d1-1bf6-4417-b4a9-02cb8827630e" providerId="ADAL" clId="{24FFA3A1-9083-4218-BD16-418FC2A97160}" dt="2025-04-23T11:36:29.799" v="949" actId="14100"/>
          <ac:picMkLst>
            <pc:docMk/>
            <pc:sldMk cId="755809019" sldId="367"/>
            <ac:picMk id="39" creationId="{1F29D573-FD92-F4D6-ADEC-48028D3324D3}"/>
          </ac:picMkLst>
        </pc:picChg>
        <pc:picChg chg="mod">
          <ac:chgData name="Jacobo de Nicolás Nuñez" userId="7c6829d1-1bf6-4417-b4a9-02cb8827630e" providerId="ADAL" clId="{24FFA3A1-9083-4218-BD16-418FC2A97160}" dt="2025-04-23T11:36:29.799" v="949" actId="14100"/>
          <ac:picMkLst>
            <pc:docMk/>
            <pc:sldMk cId="755809019" sldId="367"/>
            <ac:picMk id="40" creationId="{4498BA92-24CC-5B1F-8BAD-3B48CEDCBB90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1:43:14.393" v="966" actId="1076"/>
        <pc:sldMkLst>
          <pc:docMk/>
          <pc:sldMk cId="4187982558" sldId="368"/>
        </pc:sldMkLst>
        <pc:picChg chg="mod">
          <ac:chgData name="Jacobo de Nicolás Nuñez" userId="7c6829d1-1bf6-4417-b4a9-02cb8827630e" providerId="ADAL" clId="{24FFA3A1-9083-4218-BD16-418FC2A97160}" dt="2025-04-23T11:43:14.393" v="966" actId="1076"/>
          <ac:picMkLst>
            <pc:docMk/>
            <pc:sldMk cId="4187982558" sldId="368"/>
            <ac:picMk id="8" creationId="{F58330B6-53F6-C15F-7315-D04999B89D60}"/>
          </ac:picMkLst>
        </pc:picChg>
        <pc:picChg chg="mod">
          <ac:chgData name="Jacobo de Nicolás Nuñez" userId="7c6829d1-1bf6-4417-b4a9-02cb8827630e" providerId="ADAL" clId="{24FFA3A1-9083-4218-BD16-418FC2A97160}" dt="2025-04-23T11:43:01.695" v="963" actId="14100"/>
          <ac:picMkLst>
            <pc:docMk/>
            <pc:sldMk cId="4187982558" sldId="368"/>
            <ac:picMk id="33" creationId="{71A51C4C-5D44-396C-E1AF-125398DA9468}"/>
          </ac:picMkLst>
        </pc:picChg>
        <pc:picChg chg="mod">
          <ac:chgData name="Jacobo de Nicolás Nuñez" userId="7c6829d1-1bf6-4417-b4a9-02cb8827630e" providerId="ADAL" clId="{24FFA3A1-9083-4218-BD16-418FC2A97160}" dt="2025-04-23T11:43:07.772" v="964" actId="1076"/>
          <ac:picMkLst>
            <pc:docMk/>
            <pc:sldMk cId="4187982558" sldId="368"/>
            <ac:picMk id="34" creationId="{4B3E7CFB-CFF4-A247-A8FD-77E3D3F67D2D}"/>
          </ac:picMkLst>
        </pc:picChg>
        <pc:picChg chg="mod">
          <ac:chgData name="Jacobo de Nicolás Nuñez" userId="7c6829d1-1bf6-4417-b4a9-02cb8827630e" providerId="ADAL" clId="{24FFA3A1-9083-4218-BD16-418FC2A97160}" dt="2025-04-23T11:43:10.474" v="965" actId="1076"/>
          <ac:picMkLst>
            <pc:docMk/>
            <pc:sldMk cId="4187982558" sldId="368"/>
            <ac:picMk id="35" creationId="{7F80F7F9-6C49-2FA0-975D-9703EDB48C22}"/>
          </ac:picMkLst>
        </pc:picChg>
        <pc:picChg chg="mod">
          <ac:chgData name="Jacobo de Nicolás Nuñez" userId="7c6829d1-1bf6-4417-b4a9-02cb8827630e" providerId="ADAL" clId="{24FFA3A1-9083-4218-BD16-418FC2A97160}" dt="2025-04-23T11:43:01.695" v="963" actId="14100"/>
          <ac:picMkLst>
            <pc:docMk/>
            <pc:sldMk cId="4187982558" sldId="368"/>
            <ac:picMk id="36" creationId="{C5B81B19-F25E-456D-3D34-60B3368315EC}"/>
          </ac:picMkLst>
        </pc:picChg>
        <pc:picChg chg="mod">
          <ac:chgData name="Jacobo de Nicolás Nuñez" userId="7c6829d1-1bf6-4417-b4a9-02cb8827630e" providerId="ADAL" clId="{24FFA3A1-9083-4218-BD16-418FC2A97160}" dt="2025-04-23T11:43:01.695" v="963" actId="14100"/>
          <ac:picMkLst>
            <pc:docMk/>
            <pc:sldMk cId="4187982558" sldId="368"/>
            <ac:picMk id="38" creationId="{245D53FD-09A6-BDEE-C9A9-B07DF7EFA7E1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2:00:04.478" v="984" actId="14100"/>
        <pc:sldMkLst>
          <pc:docMk/>
          <pc:sldMk cId="3973008700" sldId="369"/>
        </pc:sldMkLst>
        <pc:picChg chg="mod">
          <ac:chgData name="Jacobo de Nicolás Nuñez" userId="7c6829d1-1bf6-4417-b4a9-02cb8827630e" providerId="ADAL" clId="{24FFA3A1-9083-4218-BD16-418FC2A97160}" dt="2025-04-23T12:00:04.478" v="984" actId="14100"/>
          <ac:picMkLst>
            <pc:docMk/>
            <pc:sldMk cId="3973008700" sldId="369"/>
            <ac:picMk id="27" creationId="{55FD3956-9C11-622B-8E11-A1B6F28C5E56}"/>
          </ac:picMkLst>
        </pc:picChg>
        <pc:picChg chg="mod">
          <ac:chgData name="Jacobo de Nicolás Nuñez" userId="7c6829d1-1bf6-4417-b4a9-02cb8827630e" providerId="ADAL" clId="{24FFA3A1-9083-4218-BD16-418FC2A97160}" dt="2025-04-23T12:00:04.478" v="984" actId="14100"/>
          <ac:picMkLst>
            <pc:docMk/>
            <pc:sldMk cId="3973008700" sldId="369"/>
            <ac:picMk id="32" creationId="{71963887-BD69-4628-78DF-AF24F6F24745}"/>
          </ac:picMkLst>
        </pc:picChg>
        <pc:picChg chg="mod">
          <ac:chgData name="Jacobo de Nicolás Nuñez" userId="7c6829d1-1bf6-4417-b4a9-02cb8827630e" providerId="ADAL" clId="{24FFA3A1-9083-4218-BD16-418FC2A97160}" dt="2025-04-23T12:00:04.478" v="984" actId="14100"/>
          <ac:picMkLst>
            <pc:docMk/>
            <pc:sldMk cId="3973008700" sldId="369"/>
            <ac:picMk id="33" creationId="{D9AF24C6-905B-3DBE-7D94-91BB4A6DF7AB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2:01:11.574" v="991" actId="1076"/>
        <pc:sldMkLst>
          <pc:docMk/>
          <pc:sldMk cId="960480539" sldId="372"/>
        </pc:sldMkLst>
        <pc:picChg chg="mod">
          <ac:chgData name="Jacobo de Nicolás Nuñez" userId="7c6829d1-1bf6-4417-b4a9-02cb8827630e" providerId="ADAL" clId="{24FFA3A1-9083-4218-BD16-418FC2A97160}" dt="2025-04-23T12:00:47.900" v="989" actId="1076"/>
          <ac:picMkLst>
            <pc:docMk/>
            <pc:sldMk cId="960480539" sldId="372"/>
            <ac:picMk id="28" creationId="{88506CA5-A85F-8274-AB0C-76596D5CFC6A}"/>
          </ac:picMkLst>
        </pc:picChg>
        <pc:picChg chg="mod">
          <ac:chgData name="Jacobo de Nicolás Nuñez" userId="7c6829d1-1bf6-4417-b4a9-02cb8827630e" providerId="ADAL" clId="{24FFA3A1-9083-4218-BD16-418FC2A97160}" dt="2025-04-23T12:00:47.900" v="989" actId="1076"/>
          <ac:picMkLst>
            <pc:docMk/>
            <pc:sldMk cId="960480539" sldId="372"/>
            <ac:picMk id="29" creationId="{76CC602E-C265-B59D-FF59-9DF91709869B}"/>
          </ac:picMkLst>
        </pc:picChg>
        <pc:picChg chg="mod">
          <ac:chgData name="Jacobo de Nicolás Nuñez" userId="7c6829d1-1bf6-4417-b4a9-02cb8827630e" providerId="ADAL" clId="{24FFA3A1-9083-4218-BD16-418FC2A97160}" dt="2025-04-23T12:00:47.900" v="989" actId="1076"/>
          <ac:picMkLst>
            <pc:docMk/>
            <pc:sldMk cId="960480539" sldId="372"/>
            <ac:picMk id="30" creationId="{99768437-2A0C-4A6A-F5B8-08B0681FA1D6}"/>
          </ac:picMkLst>
        </pc:picChg>
        <pc:picChg chg="mod">
          <ac:chgData name="Jacobo de Nicolás Nuñez" userId="7c6829d1-1bf6-4417-b4a9-02cb8827630e" providerId="ADAL" clId="{24FFA3A1-9083-4218-BD16-418FC2A97160}" dt="2025-04-23T12:00:47.900" v="989" actId="1076"/>
          <ac:picMkLst>
            <pc:docMk/>
            <pc:sldMk cId="960480539" sldId="372"/>
            <ac:picMk id="31" creationId="{C458793D-6F1B-1367-C2F0-30931767425A}"/>
          </ac:picMkLst>
        </pc:picChg>
        <pc:picChg chg="mod">
          <ac:chgData name="Jacobo de Nicolás Nuñez" userId="7c6829d1-1bf6-4417-b4a9-02cb8827630e" providerId="ADAL" clId="{24FFA3A1-9083-4218-BD16-418FC2A97160}" dt="2025-04-23T12:00:47.900" v="989" actId="1076"/>
          <ac:picMkLst>
            <pc:docMk/>
            <pc:sldMk cId="960480539" sldId="372"/>
            <ac:picMk id="32" creationId="{91D91F54-0E2B-6FC9-C2C2-23F7663A4632}"/>
          </ac:picMkLst>
        </pc:picChg>
        <pc:picChg chg="mod">
          <ac:chgData name="Jacobo de Nicolás Nuñez" userId="7c6829d1-1bf6-4417-b4a9-02cb8827630e" providerId="ADAL" clId="{24FFA3A1-9083-4218-BD16-418FC2A97160}" dt="2025-04-23T12:01:11.574" v="991" actId="1076"/>
          <ac:picMkLst>
            <pc:docMk/>
            <pc:sldMk cId="960480539" sldId="372"/>
            <ac:picMk id="33" creationId="{A1CE1DCD-E678-4037-A287-D3B8B5D52080}"/>
          </ac:picMkLst>
        </pc:picChg>
      </pc:sldChg>
      <pc:sldChg chg="addSp delSp modSp mod">
        <pc:chgData name="Jacobo de Nicolás Nuñez" userId="7c6829d1-1bf6-4417-b4a9-02cb8827630e" providerId="ADAL" clId="{24FFA3A1-9083-4218-BD16-418FC2A97160}" dt="2025-04-23T09:16:42.663" v="689" actId="1076"/>
        <pc:sldMkLst>
          <pc:docMk/>
          <pc:sldMk cId="2545693087" sldId="373"/>
        </pc:sldMkLst>
        <pc:spChg chg="mod ord">
          <ac:chgData name="Jacobo de Nicolás Nuñez" userId="7c6829d1-1bf6-4417-b4a9-02cb8827630e" providerId="ADAL" clId="{24FFA3A1-9083-4218-BD16-418FC2A97160}" dt="2025-04-16T11:32:58.721" v="282"/>
          <ac:spMkLst>
            <pc:docMk/>
            <pc:sldMk cId="2545693087" sldId="373"/>
            <ac:spMk id="2" creationId="{8D9BEE49-4687-4A81-A972-21AD9C5EA9CA}"/>
          </ac:spMkLst>
        </pc:spChg>
        <pc:spChg chg="mod ord">
          <ac:chgData name="Jacobo de Nicolás Nuñez" userId="7c6829d1-1bf6-4417-b4a9-02cb8827630e" providerId="ADAL" clId="{24FFA3A1-9083-4218-BD16-418FC2A97160}" dt="2025-04-16T11:32:58.721" v="284"/>
          <ac:spMkLst>
            <pc:docMk/>
            <pc:sldMk cId="2545693087" sldId="373"/>
            <ac:spMk id="3" creationId="{A5C93B73-E9CE-44B0-A142-9C6E62D29420}"/>
          </ac:spMkLst>
        </pc:spChg>
        <pc:spChg chg="mod ord">
          <ac:chgData name="Jacobo de Nicolás Nuñez" userId="7c6829d1-1bf6-4417-b4a9-02cb8827630e" providerId="ADAL" clId="{24FFA3A1-9083-4218-BD16-418FC2A97160}" dt="2025-04-16T11:32:58.737" v="288"/>
          <ac:spMkLst>
            <pc:docMk/>
            <pc:sldMk cId="2545693087" sldId="373"/>
            <ac:spMk id="4" creationId="{42475F9A-F18E-3E32-8EF2-5AD3201ED4B5}"/>
          </ac:spMkLst>
        </pc:spChg>
        <pc:spChg chg="mod ord">
          <ac:chgData name="Jacobo de Nicolás Nuñez" userId="7c6829d1-1bf6-4417-b4a9-02cb8827630e" providerId="ADAL" clId="{24FFA3A1-9083-4218-BD16-418FC2A97160}" dt="2025-04-16T11:32:58.736" v="286"/>
          <ac:spMkLst>
            <pc:docMk/>
            <pc:sldMk cId="2545693087" sldId="373"/>
            <ac:spMk id="5" creationId="{7D692583-258C-D7BC-C455-702285D08F77}"/>
          </ac:spMkLst>
        </pc:spChg>
        <pc:spChg chg="mod ord">
          <ac:chgData name="Jacobo de Nicolás Nuñez" userId="7c6829d1-1bf6-4417-b4a9-02cb8827630e" providerId="ADAL" clId="{24FFA3A1-9083-4218-BD16-418FC2A97160}" dt="2025-04-16T11:32:58.737" v="290"/>
          <ac:spMkLst>
            <pc:docMk/>
            <pc:sldMk cId="2545693087" sldId="373"/>
            <ac:spMk id="6" creationId="{EEBEFA06-88D0-6555-075E-D332C46C193F}"/>
          </ac:spMkLst>
        </pc:spChg>
        <pc:spChg chg="mod ord">
          <ac:chgData name="Jacobo de Nicolás Nuñez" userId="7c6829d1-1bf6-4417-b4a9-02cb8827630e" providerId="ADAL" clId="{24FFA3A1-9083-4218-BD16-418FC2A97160}" dt="2025-04-16T11:32:58.737" v="292"/>
          <ac:spMkLst>
            <pc:docMk/>
            <pc:sldMk cId="2545693087" sldId="373"/>
            <ac:spMk id="22" creationId="{2350D82B-F617-2283-DD02-F2D8DD530D09}"/>
          </ac:spMkLst>
        </pc:spChg>
        <pc:spChg chg="mod ord">
          <ac:chgData name="Jacobo de Nicolás Nuñez" userId="7c6829d1-1bf6-4417-b4a9-02cb8827630e" providerId="ADAL" clId="{24FFA3A1-9083-4218-BD16-418FC2A97160}" dt="2025-04-16T11:32:58.737" v="294"/>
          <ac:spMkLst>
            <pc:docMk/>
            <pc:sldMk cId="2545693087" sldId="373"/>
            <ac:spMk id="23" creationId="{BB29B838-792A-4356-8513-23E2E128548F}"/>
          </ac:spMkLst>
        </pc:spChg>
        <pc:spChg chg="mod ord">
          <ac:chgData name="Jacobo de Nicolás Nuñez" userId="7c6829d1-1bf6-4417-b4a9-02cb8827630e" providerId="ADAL" clId="{24FFA3A1-9083-4218-BD16-418FC2A97160}" dt="2025-04-16T11:32:58.737" v="296"/>
          <ac:spMkLst>
            <pc:docMk/>
            <pc:sldMk cId="2545693087" sldId="373"/>
            <ac:spMk id="26" creationId="{21CAE1D9-0FAC-426E-A03C-EBE24C174929}"/>
          </ac:spMkLst>
        </pc:spChg>
        <pc:spChg chg="mod ord">
          <ac:chgData name="Jacobo de Nicolás Nuñez" userId="7c6829d1-1bf6-4417-b4a9-02cb8827630e" providerId="ADAL" clId="{24FFA3A1-9083-4218-BD16-418FC2A97160}" dt="2025-04-16T11:32:58.737" v="298"/>
          <ac:spMkLst>
            <pc:docMk/>
            <pc:sldMk cId="2545693087" sldId="373"/>
            <ac:spMk id="28" creationId="{9383DFC6-43D5-4A72-970E-B73DC3623454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00"/>
          <ac:spMkLst>
            <pc:docMk/>
            <pc:sldMk cId="2545693087" sldId="373"/>
            <ac:spMk id="29" creationId="{3939CD65-7865-458A-B8AD-BC07EFDDC016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02"/>
          <ac:spMkLst>
            <pc:docMk/>
            <pc:sldMk cId="2545693087" sldId="373"/>
            <ac:spMk id="35" creationId="{67E266B4-12CB-41FD-BED3-4D6F897F47D1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04"/>
          <ac:spMkLst>
            <pc:docMk/>
            <pc:sldMk cId="2545693087" sldId="373"/>
            <ac:spMk id="38" creationId="{D912A37A-0294-4EC9-877C-81FAFE30DD42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06"/>
          <ac:spMkLst>
            <pc:docMk/>
            <pc:sldMk cId="2545693087" sldId="373"/>
            <ac:spMk id="41" creationId="{E65E578A-9B29-416E-B552-1A1C75566240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08"/>
          <ac:spMkLst>
            <pc:docMk/>
            <pc:sldMk cId="2545693087" sldId="373"/>
            <ac:spMk id="43" creationId="{6FB555CF-FF43-4CC4-A305-8CC6D6ABF368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10"/>
          <ac:spMkLst>
            <pc:docMk/>
            <pc:sldMk cId="2545693087" sldId="373"/>
            <ac:spMk id="51" creationId="{1E868421-D620-47F1-B4AD-CE21D056F597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12"/>
          <ac:spMkLst>
            <pc:docMk/>
            <pc:sldMk cId="2545693087" sldId="373"/>
            <ac:spMk id="52" creationId="{74390731-600A-4A78-B9BD-853190AABF18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14"/>
          <ac:spMkLst>
            <pc:docMk/>
            <pc:sldMk cId="2545693087" sldId="373"/>
            <ac:spMk id="53" creationId="{2AE7772A-0732-4902-8F83-4128E080DB95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16"/>
          <ac:spMkLst>
            <pc:docMk/>
            <pc:sldMk cId="2545693087" sldId="373"/>
            <ac:spMk id="54" creationId="{8532CF32-F197-BB96-39C2-A0F53946823F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18"/>
          <ac:spMkLst>
            <pc:docMk/>
            <pc:sldMk cId="2545693087" sldId="373"/>
            <ac:spMk id="55" creationId="{7950700A-38B5-2BDA-68F4-F0EE17BC0C4D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20"/>
          <ac:spMkLst>
            <pc:docMk/>
            <pc:sldMk cId="2545693087" sldId="373"/>
            <ac:spMk id="56" creationId="{4CA13202-F126-1BD0-D2BC-15E6A4F5EEB8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22"/>
          <ac:spMkLst>
            <pc:docMk/>
            <pc:sldMk cId="2545693087" sldId="373"/>
            <ac:spMk id="57" creationId="{F1D514F8-B2B2-8E99-C6FA-C7D629B7371C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24"/>
          <ac:spMkLst>
            <pc:docMk/>
            <pc:sldMk cId="2545693087" sldId="373"/>
            <ac:spMk id="58" creationId="{ED7B7B9F-A656-6921-B36A-0CBB7EFF923D}"/>
          </ac:spMkLst>
        </pc:spChg>
        <pc:spChg chg="mod ord">
          <ac:chgData name="Jacobo de Nicolás Nuñez" userId="7c6829d1-1bf6-4417-b4a9-02cb8827630e" providerId="ADAL" clId="{24FFA3A1-9083-4218-BD16-418FC2A97160}" dt="2025-04-16T11:32:58.737" v="326"/>
          <ac:spMkLst>
            <pc:docMk/>
            <pc:sldMk cId="2545693087" sldId="373"/>
            <ac:spMk id="59" creationId="{32D39E11-82F5-3763-2E4D-50635C4CB5C5}"/>
          </ac:spMkLst>
        </pc:spChg>
        <pc:spChg chg="mod ord">
          <ac:chgData name="Jacobo de Nicolás Nuñez" userId="7c6829d1-1bf6-4417-b4a9-02cb8827630e" providerId="ADAL" clId="{24FFA3A1-9083-4218-BD16-418FC2A97160}" dt="2025-04-16T11:32:58.753" v="328"/>
          <ac:spMkLst>
            <pc:docMk/>
            <pc:sldMk cId="2545693087" sldId="373"/>
            <ac:spMk id="60" creationId="{20204686-CC36-463B-025E-7D83509A3071}"/>
          </ac:spMkLst>
        </pc:spChg>
        <pc:spChg chg="mod ord">
          <ac:chgData name="Jacobo de Nicolás Nuñez" userId="7c6829d1-1bf6-4417-b4a9-02cb8827630e" providerId="ADAL" clId="{24FFA3A1-9083-4218-BD16-418FC2A97160}" dt="2025-04-16T11:32:58.753" v="330"/>
          <ac:spMkLst>
            <pc:docMk/>
            <pc:sldMk cId="2545693087" sldId="373"/>
            <ac:spMk id="61" creationId="{2B55E749-12AE-5443-587B-1D79620EC57D}"/>
          </ac:spMkLst>
        </pc:spChg>
        <pc:spChg chg="mod ord">
          <ac:chgData name="Jacobo de Nicolás Nuñez" userId="7c6829d1-1bf6-4417-b4a9-02cb8827630e" providerId="ADAL" clId="{24FFA3A1-9083-4218-BD16-418FC2A97160}" dt="2025-04-16T11:32:58.753" v="332"/>
          <ac:spMkLst>
            <pc:docMk/>
            <pc:sldMk cId="2545693087" sldId="373"/>
            <ac:spMk id="62" creationId="{4F0C92DB-CD9F-3100-77CE-02703982E090}"/>
          </ac:spMkLst>
        </pc:spChg>
        <pc:spChg chg="mod ord">
          <ac:chgData name="Jacobo de Nicolás Nuñez" userId="7c6829d1-1bf6-4417-b4a9-02cb8827630e" providerId="ADAL" clId="{24FFA3A1-9083-4218-BD16-418FC2A97160}" dt="2025-04-16T11:32:58.753" v="334"/>
          <ac:spMkLst>
            <pc:docMk/>
            <pc:sldMk cId="2545693087" sldId="373"/>
            <ac:spMk id="63" creationId="{BDD1715E-88F8-F712-9705-D9FA929EAD93}"/>
          </ac:spMkLst>
        </pc:spChg>
        <pc:spChg chg="mod ord">
          <ac:chgData name="Jacobo de Nicolás Nuñez" userId="7c6829d1-1bf6-4417-b4a9-02cb8827630e" providerId="ADAL" clId="{24FFA3A1-9083-4218-BD16-418FC2A97160}" dt="2025-04-16T11:32:58.753" v="336"/>
          <ac:spMkLst>
            <pc:docMk/>
            <pc:sldMk cId="2545693087" sldId="373"/>
            <ac:spMk id="64" creationId="{B2A07547-6DF0-52E4-4567-838DD9686335}"/>
          </ac:spMkLst>
        </pc:spChg>
        <pc:spChg chg="mod ord">
          <ac:chgData name="Jacobo de Nicolás Nuñez" userId="7c6829d1-1bf6-4417-b4a9-02cb8827630e" providerId="ADAL" clId="{24FFA3A1-9083-4218-BD16-418FC2A97160}" dt="2025-04-16T11:32:58.753" v="338"/>
          <ac:spMkLst>
            <pc:docMk/>
            <pc:sldMk cId="2545693087" sldId="373"/>
            <ac:spMk id="65" creationId="{FFBEB2E4-5843-F3D7-A090-D8214BD7A4FD}"/>
          </ac:spMkLst>
        </pc:spChg>
        <pc:spChg chg="mod ord">
          <ac:chgData name="Jacobo de Nicolás Nuñez" userId="7c6829d1-1bf6-4417-b4a9-02cb8827630e" providerId="ADAL" clId="{24FFA3A1-9083-4218-BD16-418FC2A97160}" dt="2025-04-16T11:32:58.753" v="340"/>
          <ac:spMkLst>
            <pc:docMk/>
            <pc:sldMk cId="2545693087" sldId="373"/>
            <ac:spMk id="66" creationId="{F19B674D-9EA1-7B10-940D-3E0AA0FCE9DF}"/>
          </ac:spMkLst>
        </pc:spChg>
        <pc:spChg chg="mod ord">
          <ac:chgData name="Jacobo de Nicolás Nuñez" userId="7c6829d1-1bf6-4417-b4a9-02cb8827630e" providerId="ADAL" clId="{24FFA3A1-9083-4218-BD16-418FC2A97160}" dt="2025-04-16T11:32:58.753" v="342"/>
          <ac:spMkLst>
            <pc:docMk/>
            <pc:sldMk cId="2545693087" sldId="373"/>
            <ac:spMk id="67" creationId="{2ADFDE5B-22A6-436C-C7C6-3A66CAE4E2A7}"/>
          </ac:spMkLst>
        </pc:spChg>
        <pc:graphicFrameChg chg="add mod ord modVis">
          <ac:chgData name="Jacobo de Nicolás Nuñez" userId="7c6829d1-1bf6-4417-b4a9-02cb8827630e" providerId="ADAL" clId="{24FFA3A1-9083-4218-BD16-418FC2A97160}" dt="2025-04-16T11:32:58.831" v="386"/>
          <ac:graphicFrameMkLst>
            <pc:docMk/>
            <pc:sldMk cId="2545693087" sldId="373"/>
            <ac:graphicFrameMk id="9" creationId="{34CDA660-68F8-C319-6347-CC2A47E99C84}"/>
          </ac:graphicFrameMkLst>
        </pc:graphicFrameChg>
        <pc:picChg chg="add mod ord">
          <ac:chgData name="Jacobo de Nicolás Nuñez" userId="7c6829d1-1bf6-4417-b4a9-02cb8827630e" providerId="ADAL" clId="{24FFA3A1-9083-4218-BD16-418FC2A97160}" dt="2025-04-23T09:16:31.394" v="687" actId="1076"/>
          <ac:picMkLst>
            <pc:docMk/>
            <pc:sldMk cId="2545693087" sldId="373"/>
            <ac:picMk id="7" creationId="{3B3A1138-F5FA-CDFB-AA97-9777F95ECA43}"/>
          </ac:picMkLst>
        </pc:picChg>
        <pc:picChg chg="add mod ord">
          <ac:chgData name="Jacobo de Nicolás Nuñez" userId="7c6829d1-1bf6-4417-b4a9-02cb8827630e" providerId="ADAL" clId="{24FFA3A1-9083-4218-BD16-418FC2A97160}" dt="2025-04-23T09:16:42.663" v="689" actId="1076"/>
          <ac:picMkLst>
            <pc:docMk/>
            <pc:sldMk cId="2545693087" sldId="373"/>
            <ac:picMk id="8" creationId="{489653DC-2FF2-8256-3AA0-AD1D99E100F8}"/>
          </ac:picMkLst>
        </pc:picChg>
        <pc:picChg chg="del mod ord">
          <ac:chgData name="Jacobo de Nicolás Nuñez" userId="7c6829d1-1bf6-4417-b4a9-02cb8827630e" providerId="ADAL" clId="{24FFA3A1-9083-4218-BD16-418FC2A97160}" dt="2025-04-23T09:14:26.318" v="672" actId="478"/>
          <ac:picMkLst>
            <pc:docMk/>
            <pc:sldMk cId="2545693087" sldId="373"/>
            <ac:picMk id="68" creationId="{BE78B1DA-ABEB-6029-39E1-4CB50584E548}"/>
          </ac:picMkLst>
        </pc:picChg>
        <pc:picChg chg="mod ord">
          <ac:chgData name="Jacobo de Nicolás Nuñez" userId="7c6829d1-1bf6-4417-b4a9-02cb8827630e" providerId="ADAL" clId="{24FFA3A1-9083-4218-BD16-418FC2A97160}" dt="2025-04-23T09:16:09.832" v="685" actId="14100"/>
          <ac:picMkLst>
            <pc:docMk/>
            <pc:sldMk cId="2545693087" sldId="373"/>
            <ac:picMk id="70" creationId="{A132938F-0189-468C-6E88-C9B66C3EFDCF}"/>
          </ac:picMkLst>
        </pc:picChg>
        <pc:picChg chg="mod ord">
          <ac:chgData name="Jacobo de Nicolás Nuñez" userId="7c6829d1-1bf6-4417-b4a9-02cb8827630e" providerId="ADAL" clId="{24FFA3A1-9083-4218-BD16-418FC2A97160}" dt="2025-04-23T09:16:39.255" v="688" actId="1076"/>
          <ac:picMkLst>
            <pc:docMk/>
            <pc:sldMk cId="2545693087" sldId="373"/>
            <ac:picMk id="71" creationId="{D756DCD5-3323-6F76-D4A2-70F833F1D16C}"/>
          </ac:picMkLst>
        </pc:picChg>
        <pc:picChg chg="mod ord">
          <ac:chgData name="Jacobo de Nicolás Nuñez" userId="7c6829d1-1bf6-4417-b4a9-02cb8827630e" providerId="ADAL" clId="{24FFA3A1-9083-4218-BD16-418FC2A97160}" dt="2025-04-23T09:15:27.476" v="674" actId="14826"/>
          <ac:picMkLst>
            <pc:docMk/>
            <pc:sldMk cId="2545693087" sldId="373"/>
            <ac:picMk id="72" creationId="{C391D623-3E88-65E5-75FE-CBCC2C08A22A}"/>
          </ac:picMkLst>
        </pc:picChg>
        <pc:picChg chg="mod ord">
          <ac:chgData name="Jacobo de Nicolás Nuñez" userId="7c6829d1-1bf6-4417-b4a9-02cb8827630e" providerId="ADAL" clId="{24FFA3A1-9083-4218-BD16-418FC2A97160}" dt="2025-04-23T09:16:09.832" v="685" actId="14100"/>
          <ac:picMkLst>
            <pc:docMk/>
            <pc:sldMk cId="2545693087" sldId="373"/>
            <ac:picMk id="73" creationId="{551D796D-06FD-5FE7-3522-AF34B36F89EC}"/>
          </ac:picMkLst>
        </pc:picChg>
        <pc:picChg chg="mod ord">
          <ac:chgData name="Jacobo de Nicolás Nuñez" userId="7c6829d1-1bf6-4417-b4a9-02cb8827630e" providerId="ADAL" clId="{24FFA3A1-9083-4218-BD16-418FC2A97160}" dt="2025-04-23T09:16:09.832" v="685" actId="14100"/>
          <ac:picMkLst>
            <pc:docMk/>
            <pc:sldMk cId="2545693087" sldId="373"/>
            <ac:picMk id="74" creationId="{30CAA214-159D-4AB2-C202-0D33F4BF6CB8}"/>
          </ac:picMkLst>
        </pc:picChg>
        <pc:picChg chg="mod ord">
          <ac:chgData name="Jacobo de Nicolás Nuñez" userId="7c6829d1-1bf6-4417-b4a9-02cb8827630e" providerId="ADAL" clId="{24FFA3A1-9083-4218-BD16-418FC2A97160}" dt="2025-04-23T09:16:09.832" v="685" actId="14100"/>
          <ac:picMkLst>
            <pc:docMk/>
            <pc:sldMk cId="2545693087" sldId="373"/>
            <ac:picMk id="77" creationId="{8C5031C5-1488-57CC-D2A2-F42248ECB12F}"/>
          </ac:picMkLst>
        </pc:picChg>
        <pc:picChg chg="mod ord">
          <ac:chgData name="Jacobo de Nicolás Nuñez" userId="7c6829d1-1bf6-4417-b4a9-02cb8827630e" providerId="ADAL" clId="{24FFA3A1-9083-4218-BD16-418FC2A97160}" dt="2025-04-23T09:16:09.832" v="685" actId="14100"/>
          <ac:picMkLst>
            <pc:docMk/>
            <pc:sldMk cId="2545693087" sldId="373"/>
            <ac:picMk id="78" creationId="{0F7E5050-DE41-BD9E-8576-5DEDD175F8C3}"/>
          </ac:picMkLst>
        </pc:picChg>
        <pc:picChg chg="mod ord">
          <ac:chgData name="Jacobo de Nicolás Nuñez" userId="7c6829d1-1bf6-4417-b4a9-02cb8827630e" providerId="ADAL" clId="{24FFA3A1-9083-4218-BD16-418FC2A97160}" dt="2025-04-23T09:16:25.898" v="686" actId="1076"/>
          <ac:picMkLst>
            <pc:docMk/>
            <pc:sldMk cId="2545693087" sldId="373"/>
            <ac:picMk id="79" creationId="{21AB6022-FE0A-8E6F-4F4C-E227BDAF983D}"/>
          </ac:picMkLst>
        </pc:picChg>
        <pc:picChg chg="mod ord">
          <ac:chgData name="Jacobo de Nicolás Nuñez" userId="7c6829d1-1bf6-4417-b4a9-02cb8827630e" providerId="ADAL" clId="{24FFA3A1-9083-4218-BD16-418FC2A97160}" dt="2025-04-23T09:16:09.832" v="685" actId="14100"/>
          <ac:picMkLst>
            <pc:docMk/>
            <pc:sldMk cId="2545693087" sldId="373"/>
            <ac:picMk id="80" creationId="{62545B46-A598-0B7F-95E2-3587624252B2}"/>
          </ac:picMkLst>
        </pc:picChg>
        <pc:picChg chg="mod ord">
          <ac:chgData name="Jacobo de Nicolás Nuñez" userId="7c6829d1-1bf6-4417-b4a9-02cb8827630e" providerId="ADAL" clId="{24FFA3A1-9083-4218-BD16-418FC2A97160}" dt="2025-04-23T09:16:09.832" v="685" actId="14100"/>
          <ac:picMkLst>
            <pc:docMk/>
            <pc:sldMk cId="2545693087" sldId="373"/>
            <ac:picMk id="84" creationId="{A7648B04-AC86-5F76-2BAA-A9D30356A727}"/>
          </ac:picMkLst>
        </pc:picChg>
      </pc:sldChg>
      <pc:sldChg chg="modSp mod">
        <pc:chgData name="Jacobo de Nicolás Nuñez" userId="7c6829d1-1bf6-4417-b4a9-02cb8827630e" providerId="ADAL" clId="{24FFA3A1-9083-4218-BD16-418FC2A97160}" dt="2025-04-23T11:09:11.953" v="703" actId="14826"/>
        <pc:sldMkLst>
          <pc:docMk/>
          <pc:sldMk cId="2901304641" sldId="375"/>
        </pc:sldMkLst>
        <pc:picChg chg="mod">
          <ac:chgData name="Jacobo de Nicolás Nuñez" userId="7c6829d1-1bf6-4417-b4a9-02cb8827630e" providerId="ADAL" clId="{24FFA3A1-9083-4218-BD16-418FC2A97160}" dt="2025-04-23T11:08:55.120" v="702" actId="14826"/>
          <ac:picMkLst>
            <pc:docMk/>
            <pc:sldMk cId="2901304641" sldId="375"/>
            <ac:picMk id="30" creationId="{50B2297E-5C2F-CE7B-F24C-0C89C02FFD9C}"/>
          </ac:picMkLst>
        </pc:picChg>
        <pc:picChg chg="mod">
          <ac:chgData name="Jacobo de Nicolás Nuñez" userId="7c6829d1-1bf6-4417-b4a9-02cb8827630e" providerId="ADAL" clId="{24FFA3A1-9083-4218-BD16-418FC2A97160}" dt="2025-04-23T11:09:11.953" v="703" actId="14826"/>
          <ac:picMkLst>
            <pc:docMk/>
            <pc:sldMk cId="2901304641" sldId="375"/>
            <ac:picMk id="44" creationId="{A5F5FC60-5B68-6054-0C10-E28E8BA3B3D7}"/>
          </ac:picMkLst>
        </pc:picChg>
      </pc:sldChg>
    </pc:docChg>
  </pc:docChgLst>
  <pc:docChgLst>
    <pc:chgData name="Martijn van Eijk" userId="da16bcdb-5576-4416-9e5c-7c3ecd294fd8" providerId="ADAL" clId="{9E05CCA4-B30D-435A-9099-402AF77DCCC7}"/>
    <pc:docChg chg="sldOrd">
      <pc:chgData name="Martijn van Eijk" userId="da16bcdb-5576-4416-9e5c-7c3ecd294fd8" providerId="ADAL" clId="{9E05CCA4-B30D-435A-9099-402AF77DCCC7}" dt="2024-12-12T09:11:32.833" v="0" actId="20578"/>
      <pc:docMkLst>
        <pc:docMk/>
      </pc:docMkLst>
      <pc:sldChg chg="ord">
        <pc:chgData name="Martijn van Eijk" userId="da16bcdb-5576-4416-9e5c-7c3ecd294fd8" providerId="ADAL" clId="{9E05CCA4-B30D-435A-9099-402AF77DCCC7}" dt="2024-12-12T09:11:32.833" v="0" actId="20578"/>
        <pc:sldMkLst>
          <pc:docMk/>
          <pc:sldMk cId="1370533848" sldId="332"/>
        </pc:sldMkLst>
      </pc:sldChg>
    </pc:docChg>
  </pc:docChgLst>
  <pc:docChgLst>
    <pc:chgData name="Jos Houtkamp" userId="466e504a-063a-4798-9e05-4d3702e4cf9c" providerId="ADAL" clId="{03A3A36A-7C74-497B-93EF-B6A528761DE7}"/>
    <pc:docChg chg="modSld sldOrd">
      <pc:chgData name="Jos Houtkamp" userId="466e504a-063a-4798-9e05-4d3702e4cf9c" providerId="ADAL" clId="{03A3A36A-7C74-497B-93EF-B6A528761DE7}" dt="2025-02-10T12:32:54.132" v="1"/>
      <pc:docMkLst>
        <pc:docMk/>
      </pc:docMkLst>
      <pc:sldChg chg="ord">
        <pc:chgData name="Jos Houtkamp" userId="466e504a-063a-4798-9e05-4d3702e4cf9c" providerId="ADAL" clId="{03A3A36A-7C74-497B-93EF-B6A528761DE7}" dt="2025-02-10T12:32:54.132" v="1"/>
        <pc:sldMkLst>
          <pc:docMk/>
          <pc:sldMk cId="1370533848" sldId="332"/>
        </pc:sldMkLst>
      </pc:sldChg>
    </pc:docChg>
  </pc:docChgLst>
  <pc:docChgLst>
    <pc:chgData name="Benjámin Bakos" userId="43e20cc1-df8c-4a8b-907a-600566fd3664" providerId="ADAL" clId="{A81A95A4-B616-4D96-9AF0-FAD2113334CD}"/>
    <pc:docChg chg="undo modSld">
      <pc:chgData name="Benjámin Bakos" userId="43e20cc1-df8c-4a8b-907a-600566fd3664" providerId="ADAL" clId="{A81A95A4-B616-4D96-9AF0-FAD2113334CD}" dt="2025-04-23T08:43:38.418" v="7" actId="14100"/>
      <pc:docMkLst>
        <pc:docMk/>
      </pc:docMkLst>
      <pc:sldChg chg="modSp mod">
        <pc:chgData name="Benjámin Bakos" userId="43e20cc1-df8c-4a8b-907a-600566fd3664" providerId="ADAL" clId="{A81A95A4-B616-4D96-9AF0-FAD2113334CD}" dt="2025-04-17T07:49:40.096" v="5" actId="1076"/>
        <pc:sldMkLst>
          <pc:docMk/>
          <pc:sldMk cId="1089569201" sldId="345"/>
        </pc:sldMkLst>
        <pc:picChg chg="mod">
          <ac:chgData name="Benjámin Bakos" userId="43e20cc1-df8c-4a8b-907a-600566fd3664" providerId="ADAL" clId="{A81A95A4-B616-4D96-9AF0-FAD2113334CD}" dt="2025-04-17T07:49:40.096" v="5" actId="1076"/>
          <ac:picMkLst>
            <pc:docMk/>
            <pc:sldMk cId="1089569201" sldId="345"/>
            <ac:picMk id="33" creationId="{BD521948-CBB0-4E57-EC0C-550ACA37A9FD}"/>
          </ac:picMkLst>
        </pc:picChg>
      </pc:sldChg>
      <pc:sldChg chg="modSp mod">
        <pc:chgData name="Benjámin Bakos" userId="43e20cc1-df8c-4a8b-907a-600566fd3664" providerId="ADAL" clId="{A81A95A4-B616-4D96-9AF0-FAD2113334CD}" dt="2025-04-17T06:54:48.446" v="1" actId="14100"/>
        <pc:sldMkLst>
          <pc:docMk/>
          <pc:sldMk cId="3097981172" sldId="346"/>
        </pc:sldMkLst>
        <pc:picChg chg="mod">
          <ac:chgData name="Benjámin Bakos" userId="43e20cc1-df8c-4a8b-907a-600566fd3664" providerId="ADAL" clId="{A81A95A4-B616-4D96-9AF0-FAD2113334CD}" dt="2025-04-17T06:54:48.446" v="1" actId="14100"/>
          <ac:picMkLst>
            <pc:docMk/>
            <pc:sldMk cId="3097981172" sldId="346"/>
            <ac:picMk id="29" creationId="{E4085552-CDF2-BD16-38A3-447A235C4D39}"/>
          </ac:picMkLst>
        </pc:picChg>
      </pc:sldChg>
      <pc:sldChg chg="modSp mod">
        <pc:chgData name="Benjámin Bakos" userId="43e20cc1-df8c-4a8b-907a-600566fd3664" providerId="ADAL" clId="{A81A95A4-B616-4D96-9AF0-FAD2113334CD}" dt="2025-04-17T07:49:28.967" v="3" actId="14100"/>
        <pc:sldMkLst>
          <pc:docMk/>
          <pc:sldMk cId="2310231329" sldId="363"/>
        </pc:sldMkLst>
        <pc:picChg chg="mod">
          <ac:chgData name="Benjámin Bakos" userId="43e20cc1-df8c-4a8b-907a-600566fd3664" providerId="ADAL" clId="{A81A95A4-B616-4D96-9AF0-FAD2113334CD}" dt="2025-04-17T07:49:28.967" v="3" actId="14100"/>
          <ac:picMkLst>
            <pc:docMk/>
            <pc:sldMk cId="2310231329" sldId="363"/>
            <ac:picMk id="19" creationId="{9D4F5821-094D-D950-7839-F088FB597DDF}"/>
          </ac:picMkLst>
        </pc:picChg>
      </pc:sldChg>
      <pc:sldChg chg="modSp mod">
        <pc:chgData name="Benjámin Bakos" userId="43e20cc1-df8c-4a8b-907a-600566fd3664" providerId="ADAL" clId="{A81A95A4-B616-4D96-9AF0-FAD2113334CD}" dt="2025-04-23T08:43:38.418" v="7" actId="14100"/>
        <pc:sldMkLst>
          <pc:docMk/>
          <pc:sldMk cId="2545693087" sldId="373"/>
        </pc:sldMkLst>
        <pc:picChg chg="mod">
          <ac:chgData name="Benjámin Bakos" userId="43e20cc1-df8c-4a8b-907a-600566fd3664" providerId="ADAL" clId="{A81A95A4-B616-4D96-9AF0-FAD2113334CD}" dt="2025-04-23T08:43:38.418" v="7" actId="14100"/>
          <ac:picMkLst>
            <pc:docMk/>
            <pc:sldMk cId="2545693087" sldId="373"/>
            <ac:picMk id="78" creationId="{0F7E5050-DE41-BD9E-8576-5DEDD175F8C3}"/>
          </ac:picMkLst>
        </pc:picChg>
      </pc:sldChg>
    </pc:docChg>
  </pc:docChgLst>
  <pc:docChgLst>
    <pc:chgData name="Tomas Santiago Bonanno" userId="S::tomas.bonanno@asics.com::6aaceacc-e6ab-4b88-91ce-2cfd38f0cf3b" providerId="AD" clId="Web-{81008E43-3F12-76B8-37AC-410B8C677046}"/>
    <pc:docChg chg="modSld">
      <pc:chgData name="Tomas Santiago Bonanno" userId="S::tomas.bonanno@asics.com::6aaceacc-e6ab-4b88-91ce-2cfd38f0cf3b" providerId="AD" clId="Web-{81008E43-3F12-76B8-37AC-410B8C677046}" dt="2025-02-04T13:55:17.279" v="468" actId="20577"/>
      <pc:docMkLst>
        <pc:docMk/>
      </pc:docMkLst>
      <pc:sldChg chg="addSp delSp modSp">
        <pc:chgData name="Tomas Santiago Bonanno" userId="S::tomas.bonanno@asics.com::6aaceacc-e6ab-4b88-91ce-2cfd38f0cf3b" providerId="AD" clId="Web-{81008E43-3F12-76B8-37AC-410B8C677046}" dt="2025-02-04T10:43:56.357" v="42" actId="20577"/>
        <pc:sldMkLst>
          <pc:docMk/>
          <pc:sldMk cId="2440748235" sldId="259"/>
        </pc:sldMkLst>
      </pc:sldChg>
      <pc:sldChg chg="delSp modSp">
        <pc:chgData name="Tomas Santiago Bonanno" userId="S::tomas.bonanno@asics.com::6aaceacc-e6ab-4b88-91ce-2cfd38f0cf3b" providerId="AD" clId="Web-{81008E43-3F12-76B8-37AC-410B8C677046}" dt="2025-02-04T13:20:19.356" v="168" actId="20577"/>
        <pc:sldMkLst>
          <pc:docMk/>
          <pc:sldMk cId="3651036424" sldId="340"/>
        </pc:sldMkLst>
      </pc:sldChg>
      <pc:sldChg chg="modSp">
        <pc:chgData name="Tomas Santiago Bonanno" userId="S::tomas.bonanno@asics.com::6aaceacc-e6ab-4b88-91ce-2cfd38f0cf3b" providerId="AD" clId="Web-{81008E43-3F12-76B8-37AC-410B8C677046}" dt="2025-02-04T13:49:41.707" v="359" actId="20577"/>
        <pc:sldMkLst>
          <pc:docMk/>
          <pc:sldMk cId="518256622" sldId="342"/>
        </pc:sldMkLst>
      </pc:sldChg>
      <pc:sldChg chg="addSp delSp modSp">
        <pc:chgData name="Tomas Santiago Bonanno" userId="S::tomas.bonanno@asics.com::6aaceacc-e6ab-4b88-91ce-2cfd38f0cf3b" providerId="AD" clId="Web-{81008E43-3F12-76B8-37AC-410B8C677046}" dt="2025-02-04T13:29:08.614" v="294" actId="20577"/>
        <pc:sldMkLst>
          <pc:docMk/>
          <pc:sldMk cId="1868421829" sldId="343"/>
        </pc:sldMkLst>
      </pc:sldChg>
      <pc:sldChg chg="addSp delSp modSp">
        <pc:chgData name="Tomas Santiago Bonanno" userId="S::tomas.bonanno@asics.com::6aaceacc-e6ab-4b88-91ce-2cfd38f0cf3b" providerId="AD" clId="Web-{81008E43-3F12-76B8-37AC-410B8C677046}" dt="2025-02-04T13:28:50.472" v="288" actId="20577"/>
        <pc:sldMkLst>
          <pc:docMk/>
          <pc:sldMk cId="1089569201" sldId="345"/>
        </pc:sldMkLst>
      </pc:sldChg>
      <pc:sldChg chg="addSp modSp">
        <pc:chgData name="Tomas Santiago Bonanno" userId="S::tomas.bonanno@asics.com::6aaceacc-e6ab-4b88-91ce-2cfd38f0cf3b" providerId="AD" clId="Web-{81008E43-3F12-76B8-37AC-410B8C677046}" dt="2025-02-04T13:30:41.918" v="316" actId="20577"/>
        <pc:sldMkLst>
          <pc:docMk/>
          <pc:sldMk cId="3513931044" sldId="348"/>
        </pc:sldMkLst>
      </pc:sldChg>
      <pc:sldChg chg="modSp">
        <pc:chgData name="Tomas Santiago Bonanno" userId="S::tomas.bonanno@asics.com::6aaceacc-e6ab-4b88-91ce-2cfd38f0cf3b" providerId="AD" clId="Web-{81008E43-3F12-76B8-37AC-410B8C677046}" dt="2025-02-04T10:50:35.381" v="47"/>
        <pc:sldMkLst>
          <pc:docMk/>
          <pc:sldMk cId="238564029" sldId="359"/>
        </pc:sldMkLst>
      </pc:sldChg>
      <pc:sldChg chg="addSp modSp">
        <pc:chgData name="Tomas Santiago Bonanno" userId="S::tomas.bonanno@asics.com::6aaceacc-e6ab-4b88-91ce-2cfd38f0cf3b" providerId="AD" clId="Web-{81008E43-3F12-76B8-37AC-410B8C677046}" dt="2025-02-04T13:52:12.172" v="414" actId="20577"/>
        <pc:sldMkLst>
          <pc:docMk/>
          <pc:sldMk cId="755809019" sldId="367"/>
        </pc:sldMkLst>
      </pc:sldChg>
      <pc:sldChg chg="addSp modSp">
        <pc:chgData name="Tomas Santiago Bonanno" userId="S::tomas.bonanno@asics.com::6aaceacc-e6ab-4b88-91ce-2cfd38f0cf3b" providerId="AD" clId="Web-{81008E43-3F12-76B8-37AC-410B8C677046}" dt="2025-02-04T13:55:17.279" v="468" actId="20577"/>
        <pc:sldMkLst>
          <pc:docMk/>
          <pc:sldMk cId="4187982558" sldId="368"/>
        </pc:sldMkLst>
      </pc:sldChg>
      <pc:sldChg chg="addSp modSp">
        <pc:chgData name="Tomas Santiago Bonanno" userId="S::tomas.bonanno@asics.com::6aaceacc-e6ab-4b88-91ce-2cfd38f0cf3b" providerId="AD" clId="Web-{81008E43-3F12-76B8-37AC-410B8C677046}" dt="2025-02-04T12:57:45.957" v="79" actId="20577"/>
        <pc:sldMkLst>
          <pc:docMk/>
          <pc:sldMk cId="2545693087" sldId="373"/>
        </pc:sldMkLst>
      </pc:sldChg>
    </pc:docChg>
  </pc:docChgLst>
  <pc:docChgLst>
    <pc:chgData name="Lorry Dourguin" userId="1fa68728-0439-41dd-812c-17b0116b3eb2" providerId="ADAL" clId="{183C373E-C38B-4A5B-994D-6F92013F80F0}"/>
    <pc:docChg chg="modSld sldOrd">
      <pc:chgData name="Lorry Dourguin" userId="1fa68728-0439-41dd-812c-17b0116b3eb2" providerId="ADAL" clId="{183C373E-C38B-4A5B-994D-6F92013F80F0}" dt="2025-04-11T12:32:03.759" v="1"/>
      <pc:docMkLst>
        <pc:docMk/>
      </pc:docMkLst>
      <pc:sldChg chg="ord">
        <pc:chgData name="Lorry Dourguin" userId="1fa68728-0439-41dd-812c-17b0116b3eb2" providerId="ADAL" clId="{183C373E-C38B-4A5B-994D-6F92013F80F0}" dt="2025-04-11T12:32:03.759" v="1"/>
        <pc:sldMkLst>
          <pc:docMk/>
          <pc:sldMk cId="1370533848" sldId="332"/>
        </pc:sldMkLst>
      </pc:sldChg>
    </pc:docChg>
  </pc:docChgLst>
  <pc:docChgLst>
    <pc:chgData name="Tomas Santiago Bonanno" userId="S::tomas.bonanno@asics.com::6aaceacc-e6ab-4b88-91ce-2cfd38f0cf3b" providerId="AD" clId="Web-{34607D67-40EF-44F7-DE1A-9B0285C0BAA7}"/>
    <pc:docChg chg="modSld">
      <pc:chgData name="Tomas Santiago Bonanno" userId="S::tomas.bonanno@asics.com::6aaceacc-e6ab-4b88-91ce-2cfd38f0cf3b" providerId="AD" clId="Web-{34607D67-40EF-44F7-DE1A-9B0285C0BAA7}" dt="2024-11-21T11:45:16.145" v="2"/>
      <pc:docMkLst>
        <pc:docMk/>
      </pc:docMkLst>
      <pc:sldChg chg="addSp delSp modSp">
        <pc:chgData name="Tomas Santiago Bonanno" userId="S::tomas.bonanno@asics.com::6aaceacc-e6ab-4b88-91ce-2cfd38f0cf3b" providerId="AD" clId="Web-{34607D67-40EF-44F7-DE1A-9B0285C0BAA7}" dt="2024-11-21T11:45:16.145" v="2"/>
        <pc:sldMkLst>
          <pc:docMk/>
          <pc:sldMk cId="3002347597" sldId="33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9F7F0B-CF6C-4E73-B7CC-1645B72EFDB6}" type="datetimeFigureOut">
              <a:rPr lang="en-NL" smtClean="0"/>
              <a:t>5/27/25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4638D7-A2E7-40DE-B56C-281A6C241B7D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78705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4638D7-A2E7-40DE-B56C-281A6C241B7D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71089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4638D7-A2E7-40DE-B56C-281A6C241B7D}" type="slidenum">
              <a:rPr lang="en-NL" smtClean="0"/>
              <a:t>1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25522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59563A9-2569-4E43-817B-8C8EEA5F9773}"/>
              </a:ext>
            </a:extLst>
          </p:cNvPr>
          <p:cNvCxnSpPr>
            <a:cxnSpLocks/>
          </p:cNvCxnSpPr>
          <p:nvPr userDrawn="1"/>
        </p:nvCxnSpPr>
        <p:spPr>
          <a:xfrm>
            <a:off x="2132609" y="1905981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4745269F-336B-4C0B-9097-1ACEFDB7FA48}"/>
              </a:ext>
            </a:extLst>
          </p:cNvPr>
          <p:cNvCxnSpPr>
            <a:cxnSpLocks/>
          </p:cNvCxnSpPr>
          <p:nvPr userDrawn="1"/>
        </p:nvCxnSpPr>
        <p:spPr>
          <a:xfrm>
            <a:off x="2132609" y="3051258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DCAB7562-C618-4114-A734-9311E4EEA026}"/>
              </a:ext>
            </a:extLst>
          </p:cNvPr>
          <p:cNvCxnSpPr>
            <a:cxnSpLocks/>
          </p:cNvCxnSpPr>
          <p:nvPr userDrawn="1"/>
        </p:nvCxnSpPr>
        <p:spPr>
          <a:xfrm>
            <a:off x="2132609" y="4196535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6F4A2C0-FAF3-4F6B-A2F5-F5435EC3948D}"/>
              </a:ext>
            </a:extLst>
          </p:cNvPr>
          <p:cNvCxnSpPr>
            <a:cxnSpLocks/>
          </p:cNvCxnSpPr>
          <p:nvPr userDrawn="1"/>
        </p:nvCxnSpPr>
        <p:spPr>
          <a:xfrm>
            <a:off x="2132609" y="5341812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D94AEE4-1705-458C-A354-558201FDA701}"/>
              </a:ext>
            </a:extLst>
          </p:cNvPr>
          <p:cNvCxnSpPr>
            <a:cxnSpLocks/>
          </p:cNvCxnSpPr>
          <p:nvPr userDrawn="1"/>
        </p:nvCxnSpPr>
        <p:spPr>
          <a:xfrm>
            <a:off x="2132609" y="6487087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0259BDB-56D5-472C-B8BC-4D91DE1975D8}"/>
              </a:ext>
            </a:extLst>
          </p:cNvPr>
          <p:cNvCxnSpPr>
            <a:cxnSpLocks/>
          </p:cNvCxnSpPr>
          <p:nvPr userDrawn="1"/>
        </p:nvCxnSpPr>
        <p:spPr>
          <a:xfrm>
            <a:off x="4095305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52283FCB-EAF0-4B80-BD6B-C98F848D8A9D}"/>
              </a:ext>
            </a:extLst>
          </p:cNvPr>
          <p:cNvCxnSpPr>
            <a:cxnSpLocks/>
          </p:cNvCxnSpPr>
          <p:nvPr userDrawn="1"/>
        </p:nvCxnSpPr>
        <p:spPr>
          <a:xfrm>
            <a:off x="6058001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FC555F50-9111-4D42-A5E1-81EB999A62DF}"/>
              </a:ext>
            </a:extLst>
          </p:cNvPr>
          <p:cNvCxnSpPr>
            <a:cxnSpLocks/>
          </p:cNvCxnSpPr>
          <p:nvPr userDrawn="1"/>
        </p:nvCxnSpPr>
        <p:spPr>
          <a:xfrm>
            <a:off x="8020697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91E1BE6-4E0F-4BC3-900C-DBCB7DA4EB7A}"/>
              </a:ext>
            </a:extLst>
          </p:cNvPr>
          <p:cNvCxnSpPr>
            <a:cxnSpLocks/>
          </p:cNvCxnSpPr>
          <p:nvPr userDrawn="1"/>
        </p:nvCxnSpPr>
        <p:spPr>
          <a:xfrm>
            <a:off x="9983393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6C7A86A-A16B-4110-AB1A-8BC1CD38FC0A}"/>
              </a:ext>
            </a:extLst>
          </p:cNvPr>
          <p:cNvCxnSpPr>
            <a:cxnSpLocks/>
          </p:cNvCxnSpPr>
          <p:nvPr userDrawn="1"/>
        </p:nvCxnSpPr>
        <p:spPr>
          <a:xfrm>
            <a:off x="11946089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593DA34F-2B37-48D4-A714-C69ED6034EE8}"/>
              </a:ext>
            </a:extLst>
          </p:cNvPr>
          <p:cNvCxnSpPr>
            <a:cxnSpLocks/>
          </p:cNvCxnSpPr>
          <p:nvPr userDrawn="1"/>
        </p:nvCxnSpPr>
        <p:spPr>
          <a:xfrm>
            <a:off x="2132609" y="760704"/>
            <a:ext cx="0" cy="57263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99CF0643-8145-4FE6-AB6C-33AB6C02A02A}"/>
              </a:ext>
            </a:extLst>
          </p:cNvPr>
          <p:cNvCxnSpPr>
            <a:cxnSpLocks/>
          </p:cNvCxnSpPr>
          <p:nvPr userDrawn="1"/>
        </p:nvCxnSpPr>
        <p:spPr>
          <a:xfrm>
            <a:off x="169913" y="760704"/>
            <a:ext cx="0" cy="57263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924A1EE-C561-4EF7-8F40-B3176924C275}"/>
              </a:ext>
            </a:extLst>
          </p:cNvPr>
          <p:cNvCxnSpPr>
            <a:cxnSpLocks/>
          </p:cNvCxnSpPr>
          <p:nvPr userDrawn="1"/>
        </p:nvCxnSpPr>
        <p:spPr>
          <a:xfrm>
            <a:off x="169913" y="760704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B823B5C5-68C0-4879-BEFC-78F064A5FFAA}"/>
              </a:ext>
            </a:extLst>
          </p:cNvPr>
          <p:cNvCxnSpPr>
            <a:cxnSpLocks/>
          </p:cNvCxnSpPr>
          <p:nvPr userDrawn="1"/>
        </p:nvCxnSpPr>
        <p:spPr>
          <a:xfrm>
            <a:off x="169913" y="1903678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FBEA6E06-D3BA-407D-87F0-965518A4B981}"/>
              </a:ext>
            </a:extLst>
          </p:cNvPr>
          <p:cNvCxnSpPr>
            <a:cxnSpLocks/>
          </p:cNvCxnSpPr>
          <p:nvPr userDrawn="1"/>
        </p:nvCxnSpPr>
        <p:spPr>
          <a:xfrm>
            <a:off x="169913" y="3058636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0C957635-D7D2-4FDC-BC03-80BA3C4F12A5}"/>
              </a:ext>
            </a:extLst>
          </p:cNvPr>
          <p:cNvCxnSpPr>
            <a:cxnSpLocks/>
          </p:cNvCxnSpPr>
          <p:nvPr userDrawn="1"/>
        </p:nvCxnSpPr>
        <p:spPr>
          <a:xfrm>
            <a:off x="169913" y="4196535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3922B16-04D6-4DF7-8A1D-3EDCF0396839}"/>
              </a:ext>
            </a:extLst>
          </p:cNvPr>
          <p:cNvCxnSpPr>
            <a:cxnSpLocks/>
          </p:cNvCxnSpPr>
          <p:nvPr userDrawn="1"/>
        </p:nvCxnSpPr>
        <p:spPr>
          <a:xfrm>
            <a:off x="169913" y="5341812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9959AB82-D076-442D-9734-9EF808740637}"/>
              </a:ext>
            </a:extLst>
          </p:cNvPr>
          <p:cNvCxnSpPr>
            <a:cxnSpLocks/>
          </p:cNvCxnSpPr>
          <p:nvPr userDrawn="1"/>
        </p:nvCxnSpPr>
        <p:spPr>
          <a:xfrm>
            <a:off x="169913" y="6487087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94E29623-8197-44FE-B347-789BE225B23D}"/>
              </a:ext>
            </a:extLst>
          </p:cNvPr>
          <p:cNvCxnSpPr>
            <a:cxnSpLocks/>
          </p:cNvCxnSpPr>
          <p:nvPr userDrawn="1"/>
        </p:nvCxnSpPr>
        <p:spPr>
          <a:xfrm>
            <a:off x="2132609" y="760704"/>
            <a:ext cx="981348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hape 391">
            <a:extLst>
              <a:ext uri="{FF2B5EF4-FFF2-40B4-BE49-F238E27FC236}">
                <a16:creationId xmlns:a16="http://schemas.microsoft.com/office/drawing/2014/main" id="{07E58333-197E-4B5F-88C3-B2584E7C096E}"/>
              </a:ext>
            </a:extLst>
          </p:cNvPr>
          <p:cNvSpPr txBox="1"/>
          <p:nvPr userDrawn="1"/>
        </p:nvSpPr>
        <p:spPr>
          <a:xfrm>
            <a:off x="5459960" y="6552892"/>
            <a:ext cx="2312440" cy="233582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8181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SICS Font 3.0" panose="00000500000000000000" pitchFamily="50" charset="0"/>
                <a:ea typeface="Roboto Condensed"/>
                <a:cs typeface="Roboto Condensed"/>
                <a:sym typeface="Roboto Condensed"/>
              </a:rPr>
              <a:t>SS25 VLP - CPS FTW</a:t>
            </a:r>
          </a:p>
        </p:txBody>
      </p:sp>
    </p:spTree>
    <p:extLst>
      <p:ext uri="{BB962C8B-B14F-4D97-AF65-F5344CB8AC3E}">
        <p14:creationId xmlns:p14="http://schemas.microsoft.com/office/powerpoint/2010/main" val="2754244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59563A9-2569-4E43-817B-8C8EEA5F9773}"/>
              </a:ext>
            </a:extLst>
          </p:cNvPr>
          <p:cNvCxnSpPr>
            <a:cxnSpLocks/>
          </p:cNvCxnSpPr>
          <p:nvPr userDrawn="1"/>
        </p:nvCxnSpPr>
        <p:spPr>
          <a:xfrm>
            <a:off x="2132609" y="1905981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4745269F-336B-4C0B-9097-1ACEFDB7FA48}"/>
              </a:ext>
            </a:extLst>
          </p:cNvPr>
          <p:cNvCxnSpPr>
            <a:cxnSpLocks/>
          </p:cNvCxnSpPr>
          <p:nvPr userDrawn="1"/>
        </p:nvCxnSpPr>
        <p:spPr>
          <a:xfrm>
            <a:off x="2132609" y="3051258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DCAB7562-C618-4114-A734-9311E4EEA026}"/>
              </a:ext>
            </a:extLst>
          </p:cNvPr>
          <p:cNvCxnSpPr>
            <a:cxnSpLocks/>
          </p:cNvCxnSpPr>
          <p:nvPr userDrawn="1"/>
        </p:nvCxnSpPr>
        <p:spPr>
          <a:xfrm>
            <a:off x="2132609" y="4196535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6F4A2C0-FAF3-4F6B-A2F5-F5435EC3948D}"/>
              </a:ext>
            </a:extLst>
          </p:cNvPr>
          <p:cNvCxnSpPr>
            <a:cxnSpLocks/>
          </p:cNvCxnSpPr>
          <p:nvPr userDrawn="1"/>
        </p:nvCxnSpPr>
        <p:spPr>
          <a:xfrm>
            <a:off x="2132609" y="5341812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D94AEE4-1705-458C-A354-558201FDA701}"/>
              </a:ext>
            </a:extLst>
          </p:cNvPr>
          <p:cNvCxnSpPr>
            <a:cxnSpLocks/>
          </p:cNvCxnSpPr>
          <p:nvPr userDrawn="1"/>
        </p:nvCxnSpPr>
        <p:spPr>
          <a:xfrm>
            <a:off x="2132609" y="6487087"/>
            <a:ext cx="98136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0259BDB-56D5-472C-B8BC-4D91DE1975D8}"/>
              </a:ext>
            </a:extLst>
          </p:cNvPr>
          <p:cNvCxnSpPr>
            <a:cxnSpLocks/>
          </p:cNvCxnSpPr>
          <p:nvPr userDrawn="1"/>
        </p:nvCxnSpPr>
        <p:spPr>
          <a:xfrm>
            <a:off x="4095305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52283FCB-EAF0-4B80-BD6B-C98F848D8A9D}"/>
              </a:ext>
            </a:extLst>
          </p:cNvPr>
          <p:cNvCxnSpPr>
            <a:cxnSpLocks/>
          </p:cNvCxnSpPr>
          <p:nvPr userDrawn="1"/>
        </p:nvCxnSpPr>
        <p:spPr>
          <a:xfrm>
            <a:off x="6058001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FC555F50-9111-4D42-A5E1-81EB999A62DF}"/>
              </a:ext>
            </a:extLst>
          </p:cNvPr>
          <p:cNvCxnSpPr>
            <a:cxnSpLocks/>
          </p:cNvCxnSpPr>
          <p:nvPr userDrawn="1"/>
        </p:nvCxnSpPr>
        <p:spPr>
          <a:xfrm>
            <a:off x="8020697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91E1BE6-4E0F-4BC3-900C-DBCB7DA4EB7A}"/>
              </a:ext>
            </a:extLst>
          </p:cNvPr>
          <p:cNvCxnSpPr>
            <a:cxnSpLocks/>
          </p:cNvCxnSpPr>
          <p:nvPr userDrawn="1"/>
        </p:nvCxnSpPr>
        <p:spPr>
          <a:xfrm>
            <a:off x="9983393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6C7A86A-A16B-4110-AB1A-8BC1CD38FC0A}"/>
              </a:ext>
            </a:extLst>
          </p:cNvPr>
          <p:cNvCxnSpPr>
            <a:cxnSpLocks/>
          </p:cNvCxnSpPr>
          <p:nvPr userDrawn="1"/>
        </p:nvCxnSpPr>
        <p:spPr>
          <a:xfrm>
            <a:off x="11946089" y="760704"/>
            <a:ext cx="0" cy="572638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593DA34F-2B37-48D4-A714-C69ED6034EE8}"/>
              </a:ext>
            </a:extLst>
          </p:cNvPr>
          <p:cNvCxnSpPr>
            <a:cxnSpLocks/>
          </p:cNvCxnSpPr>
          <p:nvPr userDrawn="1"/>
        </p:nvCxnSpPr>
        <p:spPr>
          <a:xfrm>
            <a:off x="2132609" y="760704"/>
            <a:ext cx="0" cy="57263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99CF0643-8145-4FE6-AB6C-33AB6C02A02A}"/>
              </a:ext>
            </a:extLst>
          </p:cNvPr>
          <p:cNvCxnSpPr>
            <a:cxnSpLocks/>
          </p:cNvCxnSpPr>
          <p:nvPr userDrawn="1"/>
        </p:nvCxnSpPr>
        <p:spPr>
          <a:xfrm>
            <a:off x="169913" y="760704"/>
            <a:ext cx="0" cy="57263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924A1EE-C561-4EF7-8F40-B3176924C275}"/>
              </a:ext>
            </a:extLst>
          </p:cNvPr>
          <p:cNvCxnSpPr>
            <a:cxnSpLocks/>
          </p:cNvCxnSpPr>
          <p:nvPr userDrawn="1"/>
        </p:nvCxnSpPr>
        <p:spPr>
          <a:xfrm>
            <a:off x="169913" y="760704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B823B5C5-68C0-4879-BEFC-78F064A5FFAA}"/>
              </a:ext>
            </a:extLst>
          </p:cNvPr>
          <p:cNvCxnSpPr>
            <a:cxnSpLocks/>
          </p:cNvCxnSpPr>
          <p:nvPr userDrawn="1"/>
        </p:nvCxnSpPr>
        <p:spPr>
          <a:xfrm>
            <a:off x="169913" y="1903678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FBEA6E06-D3BA-407D-87F0-965518A4B981}"/>
              </a:ext>
            </a:extLst>
          </p:cNvPr>
          <p:cNvCxnSpPr>
            <a:cxnSpLocks/>
          </p:cNvCxnSpPr>
          <p:nvPr userDrawn="1"/>
        </p:nvCxnSpPr>
        <p:spPr>
          <a:xfrm>
            <a:off x="169913" y="3058636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0C957635-D7D2-4FDC-BC03-80BA3C4F12A5}"/>
              </a:ext>
            </a:extLst>
          </p:cNvPr>
          <p:cNvCxnSpPr>
            <a:cxnSpLocks/>
          </p:cNvCxnSpPr>
          <p:nvPr userDrawn="1"/>
        </p:nvCxnSpPr>
        <p:spPr>
          <a:xfrm>
            <a:off x="169913" y="4196535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3922B16-04D6-4DF7-8A1D-3EDCF0396839}"/>
              </a:ext>
            </a:extLst>
          </p:cNvPr>
          <p:cNvCxnSpPr>
            <a:cxnSpLocks/>
          </p:cNvCxnSpPr>
          <p:nvPr userDrawn="1"/>
        </p:nvCxnSpPr>
        <p:spPr>
          <a:xfrm>
            <a:off x="169913" y="5341812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9959AB82-D076-442D-9734-9EF808740637}"/>
              </a:ext>
            </a:extLst>
          </p:cNvPr>
          <p:cNvCxnSpPr>
            <a:cxnSpLocks/>
          </p:cNvCxnSpPr>
          <p:nvPr userDrawn="1"/>
        </p:nvCxnSpPr>
        <p:spPr>
          <a:xfrm>
            <a:off x="169913" y="6487087"/>
            <a:ext cx="196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94E29623-8197-44FE-B347-789BE225B23D}"/>
              </a:ext>
            </a:extLst>
          </p:cNvPr>
          <p:cNvCxnSpPr>
            <a:cxnSpLocks/>
          </p:cNvCxnSpPr>
          <p:nvPr userDrawn="1"/>
        </p:nvCxnSpPr>
        <p:spPr>
          <a:xfrm>
            <a:off x="2132609" y="760704"/>
            <a:ext cx="981348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hape 391">
            <a:extLst>
              <a:ext uri="{FF2B5EF4-FFF2-40B4-BE49-F238E27FC236}">
                <a16:creationId xmlns:a16="http://schemas.microsoft.com/office/drawing/2014/main" id="{07E58333-197E-4B5F-88C3-B2584E7C096E}"/>
              </a:ext>
            </a:extLst>
          </p:cNvPr>
          <p:cNvSpPr txBox="1"/>
          <p:nvPr userDrawn="1"/>
        </p:nvSpPr>
        <p:spPr>
          <a:xfrm>
            <a:off x="5459960" y="6552892"/>
            <a:ext cx="2312440" cy="233582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8181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SICS Font 3.0" panose="00000500000000000000" pitchFamily="50" charset="0"/>
                <a:ea typeface="Roboto Condensed"/>
                <a:cs typeface="Roboto Condensed"/>
                <a:sym typeface="Roboto Condensed"/>
              </a:rPr>
              <a:t>SS25 VLP - CPS FTW</a:t>
            </a:r>
          </a:p>
        </p:txBody>
      </p:sp>
    </p:spTree>
    <p:extLst>
      <p:ext uri="{BB962C8B-B14F-4D97-AF65-F5344CB8AC3E}">
        <p14:creationId xmlns:p14="http://schemas.microsoft.com/office/powerpoint/2010/main" val="3649677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1">
            <a:extLst>
              <a:ext uri="{FF2B5EF4-FFF2-40B4-BE49-F238E27FC236}">
                <a16:creationId xmlns:a16="http://schemas.microsoft.com/office/drawing/2014/main" id="{2E541FB4-99C1-50D0-44A2-2897EC2BA8D2}"/>
              </a:ext>
            </a:extLst>
          </p:cNvPr>
          <p:cNvSpPr txBox="1"/>
          <p:nvPr userDrawn="1"/>
        </p:nvSpPr>
        <p:spPr>
          <a:xfrm>
            <a:off x="5459960" y="6552892"/>
            <a:ext cx="2312440" cy="233582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8181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SICS Font 3.0" panose="00000500000000000000" pitchFamily="50" charset="0"/>
                <a:ea typeface="Roboto Condensed"/>
                <a:cs typeface="Roboto Condensed"/>
                <a:sym typeface="Roboto Condensed"/>
              </a:rPr>
              <a:t>SS25 VLP - CPS FTW</a:t>
            </a:r>
          </a:p>
        </p:txBody>
      </p:sp>
    </p:spTree>
    <p:extLst>
      <p:ext uri="{BB962C8B-B14F-4D97-AF65-F5344CB8AC3E}">
        <p14:creationId xmlns:p14="http://schemas.microsoft.com/office/powerpoint/2010/main" val="7364427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0B3A86C-931D-FCE5-5D25-685455CE2F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49138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B3A86C-931D-FCE5-5D25-685455CE2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590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1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Image result for asics logo transparent&quot;">
            <a:extLst>
              <a:ext uri="{FF2B5EF4-FFF2-40B4-BE49-F238E27FC236}">
                <a16:creationId xmlns:a16="http://schemas.microsoft.com/office/drawing/2014/main" id="{D4C05DD6-02C0-469B-B565-F43EC0D964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50" t="23167" r="30625" b="23167"/>
          <a:stretch/>
        </p:blipFill>
        <p:spPr bwMode="auto">
          <a:xfrm>
            <a:off x="2642478" y="2038350"/>
            <a:ext cx="2230270" cy="232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EC86231-5D28-4C94-82D4-31B10DA02E31}"/>
              </a:ext>
            </a:extLst>
          </p:cNvPr>
          <p:cNvCxnSpPr>
            <a:cxnSpLocks/>
          </p:cNvCxnSpPr>
          <p:nvPr/>
        </p:nvCxnSpPr>
        <p:spPr>
          <a:xfrm>
            <a:off x="5048250" y="2028825"/>
            <a:ext cx="0" cy="2238375"/>
          </a:xfrm>
          <a:prstGeom prst="line">
            <a:avLst/>
          </a:prstGeom>
          <a:ln w="38100">
            <a:solidFill>
              <a:srgbClr val="0B22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B0BF995A-4034-4E7E-8AEB-62062937753E}"/>
              </a:ext>
            </a:extLst>
          </p:cNvPr>
          <p:cNvSpPr txBox="1"/>
          <p:nvPr/>
        </p:nvSpPr>
        <p:spPr>
          <a:xfrm>
            <a:off x="5147024" y="2209710"/>
            <a:ext cx="3498330" cy="255454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4000">
                <a:solidFill>
                  <a:srgbClr val="0B2265"/>
                </a:solidFill>
                <a:latin typeface="ASICS Font 3.0" panose="00000500000000000000" pitchFamily="50" charset="0"/>
              </a:rPr>
              <a:t>SS26</a:t>
            </a:r>
          </a:p>
          <a:p>
            <a:r>
              <a:rPr lang="en-US" sz="4000">
                <a:solidFill>
                  <a:srgbClr val="0B2265"/>
                </a:solidFill>
                <a:latin typeface="ASICS Font 3.0" panose="00000500000000000000" pitchFamily="50" charset="0"/>
              </a:rPr>
              <a:t>CPS FOOTWEAR</a:t>
            </a:r>
          </a:p>
          <a:p>
            <a:r>
              <a:rPr lang="en-US" sz="4000">
                <a:solidFill>
                  <a:srgbClr val="0B2265"/>
                </a:solidFill>
                <a:latin typeface="ASICS Font 3.0" panose="00000500000000000000" pitchFamily="50" charset="0"/>
              </a:rPr>
              <a:t>VLP</a:t>
            </a:r>
          </a:p>
          <a:p>
            <a:endParaRPr lang="en-US" sz="4000">
              <a:solidFill>
                <a:srgbClr val="0B2265"/>
              </a:solidFill>
              <a:latin typeface="ASICS Font 3.0" panose="00000500000000000000" pitchFamily="50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C401119-94A3-EFE5-04CF-F52A772B5764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</p:spTree>
    <p:extLst>
      <p:ext uri="{BB962C8B-B14F-4D97-AF65-F5344CB8AC3E}">
        <p14:creationId xmlns:p14="http://schemas.microsoft.com/office/powerpoint/2010/main" val="1671708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CDA660-68F8-C319-6347-CC2A47E99C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5007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CDA660-68F8-C319-6347-CC2A47E99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89653DC-2FF2-8256-3AA0-AD1D99E100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58967" y="991461"/>
            <a:ext cx="1666755" cy="822960"/>
          </a:xfrm>
          <a:prstGeom prst="rect">
            <a:avLst/>
          </a:prstGeom>
        </p:spPr>
      </p:pic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PADEL MEN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D692583-258C-D7BC-C455-702285D08F77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2475F9A-F18E-3E32-8EF2-5AD3201ED4B5}"/>
              </a:ext>
            </a:extLst>
          </p:cNvPr>
          <p:cNvSpPr/>
          <p:nvPr/>
        </p:nvSpPr>
        <p:spPr>
          <a:xfrm>
            <a:off x="7292666" y="459970"/>
            <a:ext cx="1977039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SPEED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EBEFA06-88D0-6555-075E-D332C46C193F}"/>
              </a:ext>
            </a:extLst>
          </p:cNvPr>
          <p:cNvSpPr/>
          <p:nvPr/>
        </p:nvSpPr>
        <p:spPr>
          <a:xfrm>
            <a:off x="1422194" y="464481"/>
            <a:ext cx="1977039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CONTROL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350D82B-F617-2283-DD02-F2D8DD530D09}"/>
              </a:ext>
            </a:extLst>
          </p:cNvPr>
          <p:cNvSpPr/>
          <p:nvPr/>
        </p:nvSpPr>
        <p:spPr>
          <a:xfrm>
            <a:off x="8019201" y="1933017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B29B838-792A-4356-8513-23E2E128548F}"/>
              </a:ext>
            </a:extLst>
          </p:cNvPr>
          <p:cNvSpPr/>
          <p:nvPr/>
        </p:nvSpPr>
        <p:spPr>
          <a:xfrm>
            <a:off x="168679" y="76458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RESOLUTION X PADEL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1CAE1D9-0FAC-426E-A03C-EBE24C174929}"/>
              </a:ext>
            </a:extLst>
          </p:cNvPr>
          <p:cNvSpPr/>
          <p:nvPr/>
        </p:nvSpPr>
        <p:spPr>
          <a:xfrm>
            <a:off x="180754" y="1066800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</a:p>
          <a:p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DEC '25</a:t>
            </a: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GOLD </a:t>
            </a:r>
            <a:endParaRPr lang="en-GB" sz="800">
              <a:solidFill>
                <a:schemeClr val="tx1"/>
              </a:solidFill>
              <a:latin typeface="ASICS Font 3.0" panose="020B0604020202020204" charset="0"/>
              <a:cs typeface="Helvetica" panose="020B0604020202020204" pitchFamily="34" charset="0"/>
            </a:endParaRPr>
          </a:p>
          <a:p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1041A492</a:t>
            </a:r>
            <a:endParaRPr lang="en-GB" sz="800">
              <a:solidFill>
                <a:schemeClr val="tx1"/>
              </a:solidFill>
              <a:latin typeface="ASICS Font 3.0" panose="020B0604020202020204" charset="0"/>
              <a:cs typeface="Helvetica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383DFC6-43D5-4A72-970E-B73DC3623454}"/>
              </a:ext>
            </a:extLst>
          </p:cNvPr>
          <p:cNvSpPr/>
          <p:nvPr/>
        </p:nvSpPr>
        <p:spPr>
          <a:xfrm>
            <a:off x="183312" y="1876555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GEL-CHALLENGER 15 PADEL</a:t>
            </a:r>
            <a:endParaRPr lang="en-NL" sz="10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939CD65-7865-458A-B8AD-BC07EFDDC016}"/>
              </a:ext>
            </a:extLst>
          </p:cNvPr>
          <p:cNvSpPr/>
          <p:nvPr/>
        </p:nvSpPr>
        <p:spPr>
          <a:xfrm>
            <a:off x="188198" y="2250656"/>
            <a:ext cx="1950307" cy="8292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3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511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7E266B4-12CB-41FD-BED3-4D6F897F47D1}"/>
              </a:ext>
            </a:extLst>
          </p:cNvPr>
          <p:cNvSpPr/>
          <p:nvPr/>
        </p:nvSpPr>
        <p:spPr>
          <a:xfrm>
            <a:off x="2143136" y="685410"/>
            <a:ext cx="1977039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912A37A-0294-4EC9-877C-81FAFE30DD42}"/>
              </a:ext>
            </a:extLst>
          </p:cNvPr>
          <p:cNvSpPr/>
          <p:nvPr/>
        </p:nvSpPr>
        <p:spPr>
          <a:xfrm>
            <a:off x="6023403" y="1939601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SOLUTION SWIFT FF 2 PADEL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65E578A-9B29-416E-B552-1A1C75566240}"/>
              </a:ext>
            </a:extLst>
          </p:cNvPr>
          <p:cNvSpPr/>
          <p:nvPr/>
        </p:nvSpPr>
        <p:spPr>
          <a:xfrm>
            <a:off x="6035478" y="2241814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3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465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FB555CF-FF43-4CC4-A305-8CC6D6ABF368}"/>
              </a:ext>
            </a:extLst>
          </p:cNvPr>
          <p:cNvSpPr/>
          <p:nvPr/>
        </p:nvSpPr>
        <p:spPr>
          <a:xfrm>
            <a:off x="180754" y="4232460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DEDICATE 8 PADEL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E868421-D620-47F1-B4AD-CE21D056F597}"/>
              </a:ext>
            </a:extLst>
          </p:cNvPr>
          <p:cNvSpPr/>
          <p:nvPr/>
        </p:nvSpPr>
        <p:spPr>
          <a:xfrm>
            <a:off x="192829" y="4534673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79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414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CA13202-F126-1BD0-D2BC-15E6A4F5EEB8}"/>
              </a:ext>
            </a:extLst>
          </p:cNvPr>
          <p:cNvSpPr/>
          <p:nvPr/>
        </p:nvSpPr>
        <p:spPr>
          <a:xfrm>
            <a:off x="2128184" y="793107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3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1D514F8-B2B2-8E99-C6FA-C7D629B7371C}"/>
              </a:ext>
            </a:extLst>
          </p:cNvPr>
          <p:cNvSpPr/>
          <p:nvPr/>
        </p:nvSpPr>
        <p:spPr>
          <a:xfrm>
            <a:off x="2179110" y="1895145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2D39E11-82F5-3763-2E4D-50635C4CB5C5}"/>
              </a:ext>
            </a:extLst>
          </p:cNvPr>
          <p:cNvSpPr/>
          <p:nvPr/>
        </p:nvSpPr>
        <p:spPr>
          <a:xfrm>
            <a:off x="6096000" y="79201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0204686-CC36-463B-025E-7D83509A3071}"/>
              </a:ext>
            </a:extLst>
          </p:cNvPr>
          <p:cNvSpPr/>
          <p:nvPr/>
        </p:nvSpPr>
        <p:spPr>
          <a:xfrm>
            <a:off x="6108075" y="1094230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F0C92DB-CD9F-3100-77CE-02703982E090}"/>
              </a:ext>
            </a:extLst>
          </p:cNvPr>
          <p:cNvSpPr/>
          <p:nvPr/>
        </p:nvSpPr>
        <p:spPr>
          <a:xfrm>
            <a:off x="2089059" y="4256929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003</a:t>
            </a:r>
          </a:p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DD1715E-88F8-F712-9705-D9FA929EAD93}"/>
              </a:ext>
            </a:extLst>
          </p:cNvPr>
          <p:cNvSpPr/>
          <p:nvPr/>
        </p:nvSpPr>
        <p:spPr>
          <a:xfrm>
            <a:off x="6042743" y="766924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SONICSMASH FF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2A07547-6DF0-52E4-4567-838DD9686335}"/>
              </a:ext>
            </a:extLst>
          </p:cNvPr>
          <p:cNvSpPr/>
          <p:nvPr/>
        </p:nvSpPr>
        <p:spPr>
          <a:xfrm>
            <a:off x="6054818" y="1069137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NEW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4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FEB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 </a:t>
            </a:r>
            <a:endParaRPr lang="en-GB" sz="800" dirty="0">
              <a:solidFill>
                <a:schemeClr val="tx1"/>
              </a:solidFill>
              <a:latin typeface="ASICS Font 3.0" panose="020B0604020202020204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538</a:t>
            </a:r>
            <a:endParaRPr lang="en-GB" sz="800" dirty="0">
              <a:solidFill>
                <a:schemeClr val="tx1"/>
              </a:solidFill>
              <a:latin typeface="ASICS Font 3.0" panose="020B0604020202020204" charset="0"/>
              <a:cs typeface="Helvetica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19B674D-9EA1-7B10-940D-3E0AA0FCE9DF}"/>
              </a:ext>
            </a:extLst>
          </p:cNvPr>
          <p:cNvSpPr/>
          <p:nvPr/>
        </p:nvSpPr>
        <p:spPr>
          <a:xfrm>
            <a:off x="8063941" y="763599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ADFDE5B-22A6-436C-C7C6-3A66CAE4E2A7}"/>
              </a:ext>
            </a:extLst>
          </p:cNvPr>
          <p:cNvSpPr/>
          <p:nvPr/>
        </p:nvSpPr>
        <p:spPr>
          <a:xfrm>
            <a:off x="10038438" y="760108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3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A132938F-0189-468C-6E88-C9B66C3EFD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4906" y="2156065"/>
            <a:ext cx="1701756" cy="822960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551D796D-06FD-5FE7-3522-AF34B36F89E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26070" y="4463572"/>
            <a:ext cx="1813059" cy="82296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8C5031C5-1488-57CC-D2A2-F42248ECB12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07834" y="1017648"/>
            <a:ext cx="1664118" cy="822960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0F7E5050-DE41-BD9E-8576-5DEDD175F8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08472" y="1032025"/>
            <a:ext cx="1690830" cy="822960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21AB6022-FE0A-8E6F-4F4C-E227BDAF983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15482" y="2182394"/>
            <a:ext cx="180684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6930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PADEL WOMEN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7E266B4-12CB-41FD-BED3-4D6F897F47D1}"/>
              </a:ext>
            </a:extLst>
          </p:cNvPr>
          <p:cNvSpPr/>
          <p:nvPr/>
        </p:nvSpPr>
        <p:spPr>
          <a:xfrm>
            <a:off x="1495462" y="461059"/>
            <a:ext cx="1977039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CONTROL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026F65B-30BF-49CC-A946-578D8345E1E5}"/>
              </a:ext>
            </a:extLst>
          </p:cNvPr>
          <p:cNvSpPr/>
          <p:nvPr/>
        </p:nvSpPr>
        <p:spPr>
          <a:xfrm>
            <a:off x="7282211" y="435346"/>
            <a:ext cx="1977039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SPEED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5210C67-5FC1-EE2D-09E7-58DD431B68C0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29B838-792A-4356-8513-23E2E128548F}"/>
              </a:ext>
            </a:extLst>
          </p:cNvPr>
          <p:cNvSpPr/>
          <p:nvPr/>
        </p:nvSpPr>
        <p:spPr>
          <a:xfrm>
            <a:off x="168679" y="76458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RESOLUTION X PADEL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CAE1D9-0FAC-426E-A03C-EBE24C174929}"/>
              </a:ext>
            </a:extLst>
          </p:cNvPr>
          <p:cNvSpPr/>
          <p:nvPr/>
        </p:nvSpPr>
        <p:spPr>
          <a:xfrm>
            <a:off x="180754" y="1066800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'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2A28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83DFC6-43D5-4A72-970E-B73DC3623454}"/>
              </a:ext>
            </a:extLst>
          </p:cNvPr>
          <p:cNvSpPr/>
          <p:nvPr/>
        </p:nvSpPr>
        <p:spPr>
          <a:xfrm>
            <a:off x="168679" y="1920130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GEL-CHALLENGER 15 PADEL</a:t>
            </a:r>
            <a:endParaRPr lang="en-NL" sz="10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939CD65-7865-458A-B8AD-BC07EFDDC016}"/>
              </a:ext>
            </a:extLst>
          </p:cNvPr>
          <p:cNvSpPr/>
          <p:nvPr/>
        </p:nvSpPr>
        <p:spPr>
          <a:xfrm>
            <a:off x="180754" y="2222343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3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2A296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E5AE6E7-68DE-1870-BB8B-136E73B0DA3A}"/>
              </a:ext>
            </a:extLst>
          </p:cNvPr>
          <p:cNvSpPr/>
          <p:nvPr/>
        </p:nvSpPr>
        <p:spPr>
          <a:xfrm>
            <a:off x="2128184" y="793107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501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408D624-9849-3E5E-FA4A-3BD6106AF98C}"/>
              </a:ext>
            </a:extLst>
          </p:cNvPr>
          <p:cNvSpPr/>
          <p:nvPr/>
        </p:nvSpPr>
        <p:spPr>
          <a:xfrm>
            <a:off x="2131061" y="1894569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7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D63687F-EB19-ED74-4218-7F1414423B19}"/>
              </a:ext>
            </a:extLst>
          </p:cNvPr>
          <p:cNvSpPr/>
          <p:nvPr/>
        </p:nvSpPr>
        <p:spPr>
          <a:xfrm>
            <a:off x="6101493" y="1066800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NEW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4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FEB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2A311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8614840-2C50-6077-58CD-B3130C430220}"/>
              </a:ext>
            </a:extLst>
          </p:cNvPr>
          <p:cNvSpPr/>
          <p:nvPr/>
        </p:nvSpPr>
        <p:spPr>
          <a:xfrm>
            <a:off x="6096000" y="790695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SONICSMASH FF</a:t>
            </a:r>
            <a:endParaRPr lang="en-US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9253627-FF4F-9E90-DF10-959BED7031EB}"/>
              </a:ext>
            </a:extLst>
          </p:cNvPr>
          <p:cNvSpPr/>
          <p:nvPr/>
        </p:nvSpPr>
        <p:spPr>
          <a:xfrm>
            <a:off x="8051800" y="801904"/>
            <a:ext cx="1260440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029C1EA9-AF86-EF13-5C0A-074A2AFE46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58162" y="1034541"/>
            <a:ext cx="1478018" cy="763258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6CC69D58-A0A8-0FE1-959F-A3759F16AF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04428" y="2120032"/>
            <a:ext cx="1585483" cy="770446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ED9AC0EA-E7FC-D94D-C9C5-10B015D29E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53748" y="1036878"/>
            <a:ext cx="1400474" cy="726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5382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486E5-B4BC-2C74-369E-9037686ED0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Image result for asics logo transparent&quot;">
            <a:extLst>
              <a:ext uri="{FF2B5EF4-FFF2-40B4-BE49-F238E27FC236}">
                <a16:creationId xmlns:a16="http://schemas.microsoft.com/office/drawing/2014/main" id="{7C75CA1C-191A-72DD-E4AE-890F495D4A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50" t="23167" r="30625" b="23167"/>
          <a:stretch/>
        </p:blipFill>
        <p:spPr bwMode="auto">
          <a:xfrm>
            <a:off x="2642478" y="2038350"/>
            <a:ext cx="2230270" cy="232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24386A5-224B-5AEF-ED55-D8106D1FEFB3}"/>
              </a:ext>
            </a:extLst>
          </p:cNvPr>
          <p:cNvCxnSpPr>
            <a:cxnSpLocks/>
          </p:cNvCxnSpPr>
          <p:nvPr/>
        </p:nvCxnSpPr>
        <p:spPr>
          <a:xfrm>
            <a:off x="5048250" y="2028825"/>
            <a:ext cx="0" cy="2238375"/>
          </a:xfrm>
          <a:prstGeom prst="line">
            <a:avLst/>
          </a:prstGeom>
          <a:ln w="38100">
            <a:solidFill>
              <a:srgbClr val="0B22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845F2D0-1E34-5A60-2B34-76A05A6B2E3F}"/>
              </a:ext>
            </a:extLst>
          </p:cNvPr>
          <p:cNvSpPr txBox="1"/>
          <p:nvPr/>
        </p:nvSpPr>
        <p:spPr>
          <a:xfrm>
            <a:off x="5133975" y="2020431"/>
            <a:ext cx="1806905" cy="707886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US"/>
            </a:defPPr>
            <a:lvl1pPr>
              <a:defRPr sz="4000">
                <a:solidFill>
                  <a:srgbClr val="0B2265"/>
                </a:solidFill>
                <a:latin typeface="ASICS Font 3.0" panose="00000500000000000000" pitchFamily="50" charset="0"/>
              </a:defRPr>
            </a:lvl1pPr>
          </a:lstStyle>
          <a:p>
            <a:r>
              <a:rPr lang="en-US"/>
              <a:t>INDOOR</a:t>
            </a:r>
            <a:endParaRPr lang="en-NL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B2BC9CE-2FDA-FBE2-D2FC-7E5C8A977888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</p:spTree>
    <p:extLst>
      <p:ext uri="{BB962C8B-B14F-4D97-AF65-F5344CB8AC3E}">
        <p14:creationId xmlns:p14="http://schemas.microsoft.com/office/powerpoint/2010/main" val="661815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6B36B24-74AE-C6DF-663C-C410D89A91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670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B36B24-74AE-C6DF-663C-C410D89A91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C42DE92-8C9B-91D7-F3A3-B461E1B99A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9069" y="960236"/>
            <a:ext cx="1776375" cy="822960"/>
          </a:xfrm>
          <a:prstGeom prst="rect">
            <a:avLst/>
          </a:prstGeom>
        </p:spPr>
      </p:pic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INDOOR MEN</a:t>
            </a:r>
          </a:p>
          <a:p>
            <a:r>
              <a:rPr lang="en-US"/>
              <a:t>HIGHER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D03A020-D69F-2C36-1A13-EA6382328E4D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F7E22F8-6B95-C012-E690-42A7F2044BE7}"/>
              </a:ext>
            </a:extLst>
          </p:cNvPr>
          <p:cNvSpPr/>
          <p:nvPr/>
        </p:nvSpPr>
        <p:spPr>
          <a:xfrm>
            <a:off x="196794" y="814016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TASK 4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EC797C-C15E-400A-79FD-095F8F43DF15}"/>
              </a:ext>
            </a:extLst>
          </p:cNvPr>
          <p:cNvSpPr/>
          <p:nvPr/>
        </p:nvSpPr>
        <p:spPr>
          <a:xfrm>
            <a:off x="256003" y="1116228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9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71A103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6F88CA2-7024-F81C-50B0-7B39FAF2B123}"/>
              </a:ext>
            </a:extLst>
          </p:cNvPr>
          <p:cNvSpPr/>
          <p:nvPr/>
        </p:nvSpPr>
        <p:spPr>
          <a:xfrm>
            <a:off x="2159176" y="824565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3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9" name="Shape 392">
            <a:extLst>
              <a:ext uri="{FF2B5EF4-FFF2-40B4-BE49-F238E27FC236}">
                <a16:creationId xmlns:a16="http://schemas.microsoft.com/office/drawing/2014/main" id="{87933856-338A-D1B8-0540-E898F0723C6D}"/>
              </a:ext>
            </a:extLst>
          </p:cNvPr>
          <p:cNvSpPr txBox="1"/>
          <p:nvPr/>
        </p:nvSpPr>
        <p:spPr>
          <a:xfrm>
            <a:off x="778990" y="3345254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 dirty="0"/>
              <a:t>INDOOR WOMEN</a:t>
            </a:r>
          </a:p>
          <a:p>
            <a:r>
              <a:rPr lang="en-US" dirty="0"/>
              <a:t>HIGHER</a:t>
            </a:r>
          </a:p>
          <a:p>
            <a:endParaRPr lang="en-NL" dirty="0"/>
          </a:p>
        </p:txBody>
      </p:sp>
      <p:sp>
        <p:nvSpPr>
          <p:cNvPr id="10" name="Shape 153">
            <a:extLst>
              <a:ext uri="{FF2B5EF4-FFF2-40B4-BE49-F238E27FC236}">
                <a16:creationId xmlns:a16="http://schemas.microsoft.com/office/drawing/2014/main" id="{B5295A39-5990-6A23-18D9-9DCBFAC6F2FF}"/>
              </a:ext>
            </a:extLst>
          </p:cNvPr>
          <p:cNvSpPr/>
          <p:nvPr/>
        </p:nvSpPr>
        <p:spPr>
          <a:xfrm>
            <a:off x="196794" y="3395136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D0AB3AD8-69E7-4EF3-E853-81D414252695}"/>
              </a:ext>
            </a:extLst>
          </p:cNvPr>
          <p:cNvSpPr/>
          <p:nvPr/>
        </p:nvSpPr>
        <p:spPr>
          <a:xfrm>
            <a:off x="184719" y="4268978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TASK 4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C53ACD0B-BEE8-DDA9-62D1-0024E6C7800A}"/>
              </a:ext>
            </a:extLst>
          </p:cNvPr>
          <p:cNvSpPr/>
          <p:nvPr/>
        </p:nvSpPr>
        <p:spPr>
          <a:xfrm>
            <a:off x="196794" y="4571191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9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72A106</a:t>
            </a:r>
          </a:p>
        </p:txBody>
      </p:sp>
      <p:sp>
        <p:nvSpPr>
          <p:cNvPr id="13" name="Rectangle 19">
            <a:extLst>
              <a:ext uri="{FF2B5EF4-FFF2-40B4-BE49-F238E27FC236}">
                <a16:creationId xmlns:a16="http://schemas.microsoft.com/office/drawing/2014/main" id="{CFD449BB-FC56-092C-70E7-99EAF3ADC0A2}"/>
              </a:ext>
            </a:extLst>
          </p:cNvPr>
          <p:cNvSpPr/>
          <p:nvPr/>
        </p:nvSpPr>
        <p:spPr>
          <a:xfrm>
            <a:off x="2150435" y="4308127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5</a:t>
            </a:r>
            <a:endParaRPr lang="en-US"/>
          </a:p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17" name="Picture 31">
            <a:extLst>
              <a:ext uri="{FF2B5EF4-FFF2-40B4-BE49-F238E27FC236}">
                <a16:creationId xmlns:a16="http://schemas.microsoft.com/office/drawing/2014/main" id="{B4288AF4-3DB4-3568-F9A1-E1850F867F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0125" y="4522519"/>
            <a:ext cx="1718154" cy="801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036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INDOOR MEN</a:t>
            </a:r>
          </a:p>
          <a:p>
            <a:r>
              <a:rPr lang="en-US"/>
              <a:t>STRONGER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E81A64D-03A9-9681-C239-F1E1455203CF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9102EE3-2742-4AF1-9620-03A8394BC406}"/>
              </a:ext>
            </a:extLst>
          </p:cNvPr>
          <p:cNvSpPr/>
          <p:nvPr/>
        </p:nvSpPr>
        <p:spPr>
          <a:xfrm>
            <a:off x="243928" y="886860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ROCKET 12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16FC2A2-2462-4C1B-AA5D-7D905CD3BB27}"/>
              </a:ext>
            </a:extLst>
          </p:cNvPr>
          <p:cNvSpPr/>
          <p:nvPr/>
        </p:nvSpPr>
        <p:spPr>
          <a:xfrm>
            <a:off x="256003" y="1189073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79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71A116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8F9BD6-AA53-4374-B356-A9965EFF30E4}"/>
              </a:ext>
            </a:extLst>
          </p:cNvPr>
          <p:cNvSpPr/>
          <p:nvPr/>
        </p:nvSpPr>
        <p:spPr>
          <a:xfrm>
            <a:off x="2209644" y="857785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1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D038210-5B4B-4BCC-A685-92E80D5F373A}"/>
              </a:ext>
            </a:extLst>
          </p:cNvPr>
          <p:cNvSpPr/>
          <p:nvPr/>
        </p:nvSpPr>
        <p:spPr>
          <a:xfrm>
            <a:off x="4189498" y="832884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3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50811CE-4746-518A-022D-AAEC86FB99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22655" y="1088964"/>
            <a:ext cx="1721225" cy="77724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CA32DEE1-FADD-6920-4289-D241E3BF4D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15972" y="1050788"/>
            <a:ext cx="1770227" cy="777240"/>
          </a:xfrm>
          <a:prstGeom prst="rect">
            <a:avLst/>
          </a:prstGeom>
        </p:spPr>
      </p:pic>
      <p:sp>
        <p:nvSpPr>
          <p:cNvPr id="5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26124" y="4619797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 dirty="0"/>
              <a:t>INDOOR WOMEN</a:t>
            </a:r>
          </a:p>
          <a:p>
            <a:r>
              <a:rPr lang="en-US" dirty="0"/>
              <a:t>STRONGER</a:t>
            </a:r>
          </a:p>
          <a:p>
            <a:endParaRPr lang="en-NL" dirty="0"/>
          </a:p>
        </p:txBody>
      </p:sp>
      <p:sp>
        <p:nvSpPr>
          <p:cNvPr id="6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43928" y="4669679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9" name="Rectangle 26">
            <a:extLst>
              <a:ext uri="{FF2B5EF4-FFF2-40B4-BE49-F238E27FC236}">
                <a16:creationId xmlns:a16="http://schemas.microsoft.com/office/drawing/2014/main" id="{60FA0D02-BC72-7FE5-9EAB-4581FAF4B151}"/>
              </a:ext>
            </a:extLst>
          </p:cNvPr>
          <p:cNvSpPr/>
          <p:nvPr/>
        </p:nvSpPr>
        <p:spPr>
          <a:xfrm>
            <a:off x="229788" y="5418994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ROCKET 12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10" name="Rectangle 27">
            <a:extLst>
              <a:ext uri="{FF2B5EF4-FFF2-40B4-BE49-F238E27FC236}">
                <a16:creationId xmlns:a16="http://schemas.microsoft.com/office/drawing/2014/main" id="{A69EF1C3-D8CF-B582-989C-216EB938619A}"/>
              </a:ext>
            </a:extLst>
          </p:cNvPr>
          <p:cNvSpPr/>
          <p:nvPr/>
        </p:nvSpPr>
        <p:spPr>
          <a:xfrm>
            <a:off x="241863" y="5721207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79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72A119</a:t>
            </a:r>
          </a:p>
        </p:txBody>
      </p:sp>
      <p:sp>
        <p:nvSpPr>
          <p:cNvPr id="11" name="Rectangle 31">
            <a:extLst>
              <a:ext uri="{FF2B5EF4-FFF2-40B4-BE49-F238E27FC236}">
                <a16:creationId xmlns:a16="http://schemas.microsoft.com/office/drawing/2014/main" id="{EE0444D3-03EA-5AD8-BD31-BFEE8DD91F09}"/>
              </a:ext>
            </a:extLst>
          </p:cNvPr>
          <p:cNvSpPr/>
          <p:nvPr/>
        </p:nvSpPr>
        <p:spPr>
          <a:xfrm>
            <a:off x="2195504" y="5389919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7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2" name="Rectangle 34">
            <a:extLst>
              <a:ext uri="{FF2B5EF4-FFF2-40B4-BE49-F238E27FC236}">
                <a16:creationId xmlns:a16="http://schemas.microsoft.com/office/drawing/2014/main" id="{1A108391-D3C5-13CD-55F9-06035E13E412}"/>
              </a:ext>
            </a:extLst>
          </p:cNvPr>
          <p:cNvSpPr/>
          <p:nvPr/>
        </p:nvSpPr>
        <p:spPr>
          <a:xfrm>
            <a:off x="4175358" y="5365018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3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13" name="Picture 38">
            <a:extLst>
              <a:ext uri="{FF2B5EF4-FFF2-40B4-BE49-F238E27FC236}">
                <a16:creationId xmlns:a16="http://schemas.microsoft.com/office/drawing/2014/main" id="{5A3A9AE2-793B-6AC4-CCA2-ABED9B9FB0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95588" y="5635654"/>
            <a:ext cx="1652604" cy="777240"/>
          </a:xfrm>
          <a:prstGeom prst="rect">
            <a:avLst/>
          </a:prstGeom>
        </p:spPr>
      </p:pic>
      <p:pic>
        <p:nvPicPr>
          <p:cNvPr id="17" name="Picture 39">
            <a:extLst>
              <a:ext uri="{FF2B5EF4-FFF2-40B4-BE49-F238E27FC236}">
                <a16:creationId xmlns:a16="http://schemas.microsoft.com/office/drawing/2014/main" id="{C8809D42-41F4-927D-9CD6-88ADA2FBE4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3595" y="5638081"/>
            <a:ext cx="1652604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4218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INDOOR MEN</a:t>
            </a:r>
          </a:p>
          <a:p>
            <a:r>
              <a:rPr lang="en-US"/>
              <a:t>FASTER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D972CF9-BF35-9F5E-6BEF-F7DA0D5F6204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B98C390-C90E-4A48-864B-C5095BCB33BF}"/>
              </a:ext>
            </a:extLst>
          </p:cNvPr>
          <p:cNvSpPr/>
          <p:nvPr/>
        </p:nvSpPr>
        <p:spPr>
          <a:xfrm>
            <a:off x="243928" y="806612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UPCOURT 6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D1C9FE6-1A3B-4D1B-9C26-157DAFA52A6D}"/>
              </a:ext>
            </a:extLst>
          </p:cNvPr>
          <p:cNvSpPr/>
          <p:nvPr/>
        </p:nvSpPr>
        <p:spPr>
          <a:xfrm>
            <a:off x="256003" y="1108825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69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BRONZE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71A104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610255F-D92A-4660-84FD-E50AEBB3454C}"/>
              </a:ext>
            </a:extLst>
          </p:cNvPr>
          <p:cNvSpPr/>
          <p:nvPr/>
        </p:nvSpPr>
        <p:spPr>
          <a:xfrm>
            <a:off x="2194235" y="811483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4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86C472D-88B4-07C4-2458-C225AB0824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69782" y="1082902"/>
            <a:ext cx="1683362" cy="777240"/>
          </a:xfrm>
          <a:prstGeom prst="rect">
            <a:avLst/>
          </a:prstGeom>
        </p:spPr>
      </p:pic>
      <p:sp>
        <p:nvSpPr>
          <p:cNvPr id="13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18742" y="4540761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INDOOR WOMEN</a:t>
            </a:r>
          </a:p>
          <a:p>
            <a:r>
              <a:rPr lang="en-US"/>
              <a:t>FASTER</a:t>
            </a:r>
          </a:p>
          <a:p>
            <a:endParaRPr lang="en-NL"/>
          </a:p>
        </p:txBody>
      </p:sp>
      <p:sp>
        <p:nvSpPr>
          <p:cNvPr id="16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36546" y="4590643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B98C390-C90E-4A48-864B-C5095BCB33BF}"/>
              </a:ext>
            </a:extLst>
          </p:cNvPr>
          <p:cNvSpPr/>
          <p:nvPr/>
        </p:nvSpPr>
        <p:spPr>
          <a:xfrm>
            <a:off x="224471" y="5326096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UPCOURT 6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17" name="Rectangle 19">
            <a:extLst>
              <a:ext uri="{FF2B5EF4-FFF2-40B4-BE49-F238E27FC236}">
                <a16:creationId xmlns:a16="http://schemas.microsoft.com/office/drawing/2014/main" id="{7D1C9FE6-1A3B-4D1B-9C26-157DAFA52A6D}"/>
              </a:ext>
            </a:extLst>
          </p:cNvPr>
          <p:cNvSpPr/>
          <p:nvPr/>
        </p:nvSpPr>
        <p:spPr>
          <a:xfrm>
            <a:off x="236546" y="5628309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69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BRONZE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72A107</a:t>
            </a:r>
          </a:p>
        </p:txBody>
      </p:sp>
      <p:sp>
        <p:nvSpPr>
          <p:cNvPr id="18" name="Rectangle 23">
            <a:extLst>
              <a:ext uri="{FF2B5EF4-FFF2-40B4-BE49-F238E27FC236}">
                <a16:creationId xmlns:a16="http://schemas.microsoft.com/office/drawing/2014/main" id="{55793318-4D8F-42BB-8C9B-D7E1009D5EF7}"/>
              </a:ext>
            </a:extLst>
          </p:cNvPr>
          <p:cNvSpPr/>
          <p:nvPr/>
        </p:nvSpPr>
        <p:spPr>
          <a:xfrm>
            <a:off x="2174778" y="5330967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703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25" name="Picture 35">
            <a:extLst>
              <a:ext uri="{FF2B5EF4-FFF2-40B4-BE49-F238E27FC236}">
                <a16:creationId xmlns:a16="http://schemas.microsoft.com/office/drawing/2014/main" id="{C5B81B19-F25E-456D-3D34-60B3368315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5957" y="5512011"/>
            <a:ext cx="1694833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5692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INDOOR KIDS</a:t>
            </a:r>
          </a:p>
          <a:p>
            <a:endParaRPr lang="en-US"/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81CC193-5FCF-7969-CDF0-7948C3BBEF3D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D57BF2-A194-411B-8656-4C23CE6BB5D1}"/>
              </a:ext>
            </a:extLst>
          </p:cNvPr>
          <p:cNvSpPr/>
          <p:nvPr/>
        </p:nvSpPr>
        <p:spPr>
          <a:xfrm>
            <a:off x="243928" y="827778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UPCOURT 6 G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363033-9CB6-44D4-B375-1B420FE6A7D7}"/>
              </a:ext>
            </a:extLst>
          </p:cNvPr>
          <p:cNvSpPr/>
          <p:nvPr/>
        </p:nvSpPr>
        <p:spPr>
          <a:xfrm>
            <a:off x="256003" y="1129991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59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BRONZE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74A04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731BCE8-D6B4-455D-81D9-5971821D7D9D}"/>
              </a:ext>
            </a:extLst>
          </p:cNvPr>
          <p:cNvSpPr/>
          <p:nvPr/>
        </p:nvSpPr>
        <p:spPr>
          <a:xfrm>
            <a:off x="2206310" y="832650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DA10771-33B4-4F8E-A9FD-3DDCEB30708B}"/>
              </a:ext>
            </a:extLst>
          </p:cNvPr>
          <p:cNvSpPr/>
          <p:nvPr/>
        </p:nvSpPr>
        <p:spPr>
          <a:xfrm>
            <a:off x="4168692" y="827779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702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5A00EC1-4727-1BF9-4A8C-43B5BC4CE3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77749" y="1061707"/>
            <a:ext cx="1677684" cy="77724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3D51E02-D272-67B8-666F-7C4DF7F600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60727" y="1066648"/>
            <a:ext cx="1641694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9310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Image result for asics logo transparent&quot;">
            <a:extLst>
              <a:ext uri="{FF2B5EF4-FFF2-40B4-BE49-F238E27FC236}">
                <a16:creationId xmlns:a16="http://schemas.microsoft.com/office/drawing/2014/main" id="{D4C05DD6-02C0-469B-B565-F43EC0D964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50" t="23167" r="30625" b="23167"/>
          <a:stretch/>
        </p:blipFill>
        <p:spPr bwMode="auto">
          <a:xfrm>
            <a:off x="2642478" y="2038350"/>
            <a:ext cx="2230270" cy="232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EC86231-5D28-4C94-82D4-31B10DA02E31}"/>
              </a:ext>
            </a:extLst>
          </p:cNvPr>
          <p:cNvCxnSpPr>
            <a:cxnSpLocks/>
          </p:cNvCxnSpPr>
          <p:nvPr/>
        </p:nvCxnSpPr>
        <p:spPr>
          <a:xfrm>
            <a:off x="5048250" y="2028825"/>
            <a:ext cx="0" cy="2238375"/>
          </a:xfrm>
          <a:prstGeom prst="line">
            <a:avLst/>
          </a:prstGeom>
          <a:ln w="38100">
            <a:solidFill>
              <a:srgbClr val="0B22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B0BF995A-4034-4E7E-8AEB-62062937753E}"/>
              </a:ext>
            </a:extLst>
          </p:cNvPr>
          <p:cNvSpPr txBox="1"/>
          <p:nvPr/>
        </p:nvSpPr>
        <p:spPr>
          <a:xfrm>
            <a:off x="5133975" y="2020431"/>
            <a:ext cx="3233578" cy="707886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US"/>
            </a:defPPr>
            <a:lvl1pPr>
              <a:defRPr sz="4000">
                <a:solidFill>
                  <a:srgbClr val="0B2265"/>
                </a:solidFill>
                <a:latin typeface="ASICS Font 3.0" panose="00000500000000000000" pitchFamily="50" charset="0"/>
              </a:defRPr>
            </a:lvl1pPr>
          </a:lstStyle>
          <a:p>
            <a:r>
              <a:rPr lang="en-US"/>
              <a:t>WRESTLING</a:t>
            </a:r>
            <a:endParaRPr lang="en-NL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A6BD300-CE4C-563D-804C-7FEAB7BA8EF7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</p:spTree>
    <p:extLst>
      <p:ext uri="{BB962C8B-B14F-4D97-AF65-F5344CB8AC3E}">
        <p14:creationId xmlns:p14="http://schemas.microsoft.com/office/powerpoint/2010/main" val="27910602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WRESTLING UNISEX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7B70A35-AACC-D667-8CE0-EC138404B4B2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E61E91-E3E0-E7E2-E07E-6B797CD37844}"/>
              </a:ext>
            </a:extLst>
          </p:cNvPr>
          <p:cNvSpPr/>
          <p:nvPr/>
        </p:nvSpPr>
        <p:spPr>
          <a:xfrm>
            <a:off x="231853" y="901296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SNAPDOWN 4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0F00D35-2241-02F5-9E69-1CCB2BA5B84C}"/>
              </a:ext>
            </a:extLst>
          </p:cNvPr>
          <p:cNvSpPr/>
          <p:nvPr/>
        </p:nvSpPr>
        <p:spPr>
          <a:xfrm>
            <a:off x="256003" y="1219225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O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9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81A058</a:t>
            </a:r>
          </a:p>
          <a:p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47D2DA1-C43F-67EE-52D3-A4A3FCE0D399}"/>
              </a:ext>
            </a:extLst>
          </p:cNvPr>
          <p:cNvSpPr/>
          <p:nvPr/>
        </p:nvSpPr>
        <p:spPr>
          <a:xfrm>
            <a:off x="2237325" y="901296"/>
            <a:ext cx="1259487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1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88FBF7-F802-87B0-0828-5CC5CEB81E0C}"/>
              </a:ext>
            </a:extLst>
          </p:cNvPr>
          <p:cNvSpPr/>
          <p:nvPr/>
        </p:nvSpPr>
        <p:spPr>
          <a:xfrm>
            <a:off x="206700" y="2021362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MATFLEX 7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AA23F0D-5231-8413-EC30-E62ED1FD7BDC}"/>
              </a:ext>
            </a:extLst>
          </p:cNvPr>
          <p:cNvSpPr/>
          <p:nvPr/>
        </p:nvSpPr>
        <p:spPr>
          <a:xfrm>
            <a:off x="230850" y="2339291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O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8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81A051</a:t>
            </a:r>
          </a:p>
          <a:p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F018DF8-0A56-6245-8217-12C0D3D3DDF6}"/>
              </a:ext>
            </a:extLst>
          </p:cNvPr>
          <p:cNvSpPr/>
          <p:nvPr/>
        </p:nvSpPr>
        <p:spPr>
          <a:xfrm>
            <a:off x="2165519" y="2036913"/>
            <a:ext cx="1259487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 panose="00000500000000000000" pitchFamily="50" charset="0"/>
                <a:cs typeface="Helvetica" panose="020B0604020202020204" pitchFamily="34" charset="0"/>
              </a:rPr>
              <a:t>00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79D3FA3-B2D6-B387-807F-D93B793B69E3}"/>
              </a:ext>
            </a:extLst>
          </p:cNvPr>
          <p:cNvSpPr/>
          <p:nvPr/>
        </p:nvSpPr>
        <p:spPr>
          <a:xfrm>
            <a:off x="4186503" y="2039121"/>
            <a:ext cx="1259487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022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28" name="Picture 27" descr="A black and white basketball shoe&#10;&#10;Description automatically generated">
            <a:extLst>
              <a:ext uri="{FF2B5EF4-FFF2-40B4-BE49-F238E27FC236}">
                <a16:creationId xmlns:a16="http://schemas.microsoft.com/office/drawing/2014/main" id="{88506CA5-A85F-8274-AB0C-76596D5CFC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2319271" y="2066571"/>
            <a:ext cx="1513603" cy="914400"/>
          </a:xfrm>
          <a:prstGeom prst="rect">
            <a:avLst/>
          </a:prstGeom>
        </p:spPr>
      </p:pic>
      <p:pic>
        <p:nvPicPr>
          <p:cNvPr id="29" name="Picture 28" descr="A close up of a shoe&#10;&#10;Description automatically generated">
            <a:extLst>
              <a:ext uri="{FF2B5EF4-FFF2-40B4-BE49-F238E27FC236}">
                <a16:creationId xmlns:a16="http://schemas.microsoft.com/office/drawing/2014/main" id="{76CC602E-C265-B59D-FF59-9DF9170986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2785" y="2079030"/>
            <a:ext cx="1525951" cy="914400"/>
          </a:xfrm>
          <a:prstGeom prst="rect">
            <a:avLst/>
          </a:prstGeom>
        </p:spPr>
      </p:pic>
      <p:pic>
        <p:nvPicPr>
          <p:cNvPr id="30" name="Picture 29" descr="A close up of a shoe&#10;&#10;Description automatically generated">
            <a:extLst>
              <a:ext uri="{FF2B5EF4-FFF2-40B4-BE49-F238E27FC236}">
                <a16:creationId xmlns:a16="http://schemas.microsoft.com/office/drawing/2014/main" id="{99768437-2A0C-4A6A-F5B8-08B0681FA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19270" y="1021610"/>
            <a:ext cx="1551028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480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Image result for asics logo transparent&quot;">
            <a:extLst>
              <a:ext uri="{FF2B5EF4-FFF2-40B4-BE49-F238E27FC236}">
                <a16:creationId xmlns:a16="http://schemas.microsoft.com/office/drawing/2014/main" id="{D4C05DD6-02C0-469B-B565-F43EC0D964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50" t="23167" r="30625" b="23167"/>
          <a:stretch/>
        </p:blipFill>
        <p:spPr bwMode="auto">
          <a:xfrm>
            <a:off x="2642478" y="2038350"/>
            <a:ext cx="2230270" cy="232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EC86231-5D28-4C94-82D4-31B10DA02E31}"/>
              </a:ext>
            </a:extLst>
          </p:cNvPr>
          <p:cNvCxnSpPr>
            <a:cxnSpLocks/>
          </p:cNvCxnSpPr>
          <p:nvPr/>
        </p:nvCxnSpPr>
        <p:spPr>
          <a:xfrm>
            <a:off x="5048250" y="2028825"/>
            <a:ext cx="0" cy="2238375"/>
          </a:xfrm>
          <a:prstGeom prst="line">
            <a:avLst/>
          </a:prstGeom>
          <a:ln w="38100">
            <a:solidFill>
              <a:srgbClr val="0B22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B0BF995A-4034-4E7E-8AEB-62062937753E}"/>
              </a:ext>
            </a:extLst>
          </p:cNvPr>
          <p:cNvSpPr txBox="1"/>
          <p:nvPr/>
        </p:nvSpPr>
        <p:spPr>
          <a:xfrm>
            <a:off x="5133975" y="2020431"/>
            <a:ext cx="2561920" cy="52322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US"/>
            </a:defPPr>
            <a:lvl1pPr>
              <a:defRPr sz="4000">
                <a:solidFill>
                  <a:srgbClr val="0B2265"/>
                </a:solidFill>
                <a:latin typeface="ASICS Font 3.0" panose="00000500000000000000" pitchFamily="50" charset="0"/>
              </a:defRPr>
            </a:lvl1pPr>
          </a:lstStyle>
          <a:p>
            <a:r>
              <a:rPr lang="en-US"/>
              <a:t>TENNIS</a:t>
            </a:r>
            <a:endParaRPr lang="en-NL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A149E0D5-ED68-A223-5DAF-11C75A4099B8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</p:spTree>
    <p:extLst>
      <p:ext uri="{BB962C8B-B14F-4D97-AF65-F5344CB8AC3E}">
        <p14:creationId xmlns:p14="http://schemas.microsoft.com/office/powerpoint/2010/main" val="36350733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TENNIS</a:t>
            </a:r>
          </a:p>
          <a:p>
            <a:r>
              <a:rPr lang="en-US"/>
              <a:t>BEST OF BOTH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266E573-1798-428A-A392-3E1BB714B573}"/>
              </a:ext>
            </a:extLst>
          </p:cNvPr>
          <p:cNvGrpSpPr/>
          <p:nvPr/>
        </p:nvGrpSpPr>
        <p:grpSpPr>
          <a:xfrm>
            <a:off x="5767348" y="105604"/>
            <a:ext cx="6166360" cy="506458"/>
            <a:chOff x="5767348" y="34045"/>
            <a:chExt cx="6166360" cy="50645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CE8A563-BC19-4109-BF49-C6960E98A29F}"/>
                </a:ext>
              </a:extLst>
            </p:cNvPr>
            <p:cNvGrpSpPr/>
            <p:nvPr/>
          </p:nvGrpSpPr>
          <p:grpSpPr>
            <a:xfrm>
              <a:off x="5822551" y="298670"/>
              <a:ext cx="1962777" cy="180000"/>
              <a:chOff x="6058306" y="79991"/>
              <a:chExt cx="1962777" cy="180000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EF03F4B2-BDF0-4B26-B01B-B669B9A1671D}"/>
                  </a:ext>
                </a:extLst>
              </p:cNvPr>
              <p:cNvSpPr/>
              <p:nvPr/>
            </p:nvSpPr>
            <p:spPr>
              <a:xfrm>
                <a:off x="6058306" y="79991"/>
                <a:ext cx="188822" cy="180000"/>
              </a:xfrm>
              <a:prstGeom prst="ellipse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70BCF8E4-7A06-44AE-806D-C26352FE4B02}"/>
                  </a:ext>
                </a:extLst>
              </p:cNvPr>
              <p:cNvSpPr/>
              <p:nvPr/>
            </p:nvSpPr>
            <p:spPr>
              <a:xfrm>
                <a:off x="6162634" y="103206"/>
                <a:ext cx="1858449" cy="13357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HARD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D02E0FB-7B3F-42AF-BB21-A9C0779AE708}"/>
                </a:ext>
              </a:extLst>
            </p:cNvPr>
            <p:cNvGrpSpPr/>
            <p:nvPr/>
          </p:nvGrpSpPr>
          <p:grpSpPr>
            <a:xfrm>
              <a:off x="7874329" y="298670"/>
              <a:ext cx="1962777" cy="180000"/>
              <a:chOff x="6058306" y="298909"/>
              <a:chExt cx="1962777" cy="180000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38311CEA-89BB-4AFC-A4A0-B1666111C853}"/>
                  </a:ext>
                </a:extLst>
              </p:cNvPr>
              <p:cNvSpPr/>
              <p:nvPr/>
            </p:nvSpPr>
            <p:spPr>
              <a:xfrm>
                <a:off x="6058306" y="298909"/>
                <a:ext cx="188822" cy="180000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8A7B1D2-578D-473D-BB44-8DD89F789088}"/>
                  </a:ext>
                </a:extLst>
              </p:cNvPr>
              <p:cNvSpPr/>
              <p:nvPr/>
            </p:nvSpPr>
            <p:spPr>
              <a:xfrm>
                <a:off x="6162634" y="322124"/>
                <a:ext cx="1858449" cy="13357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CLAY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485C352-0409-492C-A1CD-857D6E0A8E17}"/>
                </a:ext>
              </a:extLst>
            </p:cNvPr>
            <p:cNvGrpSpPr/>
            <p:nvPr/>
          </p:nvGrpSpPr>
          <p:grpSpPr>
            <a:xfrm>
              <a:off x="9926107" y="298670"/>
              <a:ext cx="1962777" cy="180000"/>
              <a:chOff x="6058306" y="517828"/>
              <a:chExt cx="1962777" cy="180000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88ED472-B183-40E6-A083-B691AC7B4107}"/>
                  </a:ext>
                </a:extLst>
              </p:cNvPr>
              <p:cNvSpPr/>
              <p:nvPr/>
            </p:nvSpPr>
            <p:spPr>
              <a:xfrm>
                <a:off x="6058306" y="517828"/>
                <a:ext cx="188822" cy="180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BF3FE71-37FC-464C-A20F-20BC44FA4B84}"/>
                  </a:ext>
                </a:extLst>
              </p:cNvPr>
              <p:cNvSpPr/>
              <p:nvPr/>
            </p:nvSpPr>
            <p:spPr>
              <a:xfrm>
                <a:off x="6162634" y="541043"/>
                <a:ext cx="1858449" cy="13357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INDOOR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B2FE0C5-2479-4A8C-996A-1195521AF5DB}"/>
                </a:ext>
              </a:extLst>
            </p:cNvPr>
            <p:cNvSpPr/>
            <p:nvPr/>
          </p:nvSpPr>
          <p:spPr>
            <a:xfrm>
              <a:off x="5822552" y="34045"/>
              <a:ext cx="6066332" cy="21044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00">
                  <a:solidFill>
                    <a:schemeClr val="tx1"/>
                  </a:solidFill>
                  <a:latin typeface="ASICS Font 3.0" panose="00000500000000000000" pitchFamily="50" charset="0"/>
                  <a:cs typeface="Helvetica" panose="020B0604020202020204" pitchFamily="34" charset="0"/>
                </a:rPr>
                <a:t>OUTSOLE AVAILABILITY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FF068E-F3F9-427B-91D7-0CC2F0E86C9D}"/>
                </a:ext>
              </a:extLst>
            </p:cNvPr>
            <p:cNvSpPr/>
            <p:nvPr/>
          </p:nvSpPr>
          <p:spPr>
            <a:xfrm>
              <a:off x="5767348" y="39811"/>
              <a:ext cx="6166360" cy="50069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latin typeface="ASICS Font 3.0" panose="00000500000000000000" pitchFamily="50" charset="0"/>
              </a:endParaRPr>
            </a:p>
          </p:txBody>
        </p:sp>
      </p:grpSp>
      <p:sp>
        <p:nvSpPr>
          <p:cNvPr id="168" name="Rectangle 167">
            <a:extLst>
              <a:ext uri="{FF2B5EF4-FFF2-40B4-BE49-F238E27FC236}">
                <a16:creationId xmlns:a16="http://schemas.microsoft.com/office/drawing/2014/main" id="{C7A4DB4D-4742-4E3F-B2A9-09B1246F0807}"/>
              </a:ext>
            </a:extLst>
          </p:cNvPr>
          <p:cNvSpPr/>
          <p:nvPr/>
        </p:nvSpPr>
        <p:spPr>
          <a:xfrm>
            <a:off x="2131061" y="529921"/>
            <a:ext cx="1977039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  <a:latin typeface="ASICS Font 3.0" panose="00000500000000000000" pitchFamily="50" charset="0"/>
              </a:rPr>
              <a:t>MEN</a:t>
            </a:r>
            <a:endParaRPr lang="en-NL" sz="1000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4EF32468-5746-44A9-61F6-3CDE079115A4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B29B838-792A-4356-8513-23E2E128548F}"/>
              </a:ext>
            </a:extLst>
          </p:cNvPr>
          <p:cNvSpPr/>
          <p:nvPr/>
        </p:nvSpPr>
        <p:spPr>
          <a:xfrm>
            <a:off x="168679" y="3067574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COURT FF 3 NOVAK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1CAE1D9-0FAC-426E-A03C-EBE24C174929}"/>
              </a:ext>
            </a:extLst>
          </p:cNvPr>
          <p:cNvSpPr/>
          <p:nvPr/>
        </p:nvSpPr>
        <p:spPr>
          <a:xfrm>
            <a:off x="180754" y="3369787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€19</a:t>
            </a:r>
            <a:r>
              <a:rPr lang="el-GR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JAN – AO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Segoe UI"/>
              </a:rPr>
              <a:t>1041A522</a:t>
            </a:r>
            <a:endParaRPr lang="en-US" sz="800" dirty="0">
              <a:solidFill>
                <a:schemeClr val="tx1"/>
              </a:solidFill>
              <a:latin typeface="ASICS Font 3.0" panose="00000500000000000000" pitchFamily="50" charset="0"/>
              <a:cs typeface="Segoe UI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Segoe UI"/>
              </a:rPr>
              <a:t>1041A521 (CLAY)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1071331-7BAA-4722-93E0-85AC6585C4E0}"/>
              </a:ext>
            </a:extLst>
          </p:cNvPr>
          <p:cNvSpPr/>
          <p:nvPr/>
        </p:nvSpPr>
        <p:spPr>
          <a:xfrm>
            <a:off x="3666361" y="3085197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04D4EAB-564B-471B-86B8-84BD90200149}"/>
              </a:ext>
            </a:extLst>
          </p:cNvPr>
          <p:cNvSpPr/>
          <p:nvPr/>
        </p:nvSpPr>
        <p:spPr>
          <a:xfrm>
            <a:off x="3879513" y="3085197"/>
            <a:ext cx="180000" cy="18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87D94B4-E3DC-40E4-88AA-A7146F269826}"/>
              </a:ext>
            </a:extLst>
          </p:cNvPr>
          <p:cNvSpPr/>
          <p:nvPr/>
        </p:nvSpPr>
        <p:spPr>
          <a:xfrm>
            <a:off x="2131061" y="5098812"/>
            <a:ext cx="1977039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chemeClr val="tx1"/>
                </a:solidFill>
                <a:latin typeface="ASICS Font 3.0" panose="00000500000000000000" pitchFamily="50" charset="0"/>
              </a:rPr>
              <a:t>WOMEN</a:t>
            </a:r>
            <a:endParaRPr lang="en-NL" sz="1000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ADF6AB6-3568-4715-97C2-DCA60801C2F5}"/>
              </a:ext>
            </a:extLst>
          </p:cNvPr>
          <p:cNvSpPr/>
          <p:nvPr/>
        </p:nvSpPr>
        <p:spPr>
          <a:xfrm>
            <a:off x="7585505" y="3108920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55D488C-C91B-4BE2-A8F0-52D1AD9F8EAC}"/>
              </a:ext>
            </a:extLst>
          </p:cNvPr>
          <p:cNvSpPr/>
          <p:nvPr/>
        </p:nvSpPr>
        <p:spPr>
          <a:xfrm>
            <a:off x="7798657" y="3108920"/>
            <a:ext cx="180000" cy="18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AEB742-1E7C-D109-157F-FD75479B6525}"/>
              </a:ext>
            </a:extLst>
          </p:cNvPr>
          <p:cNvSpPr/>
          <p:nvPr/>
        </p:nvSpPr>
        <p:spPr>
          <a:xfrm>
            <a:off x="4093445" y="3064470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COURT FF 3 NOVAK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36991CE-4EA3-D5AB-5CF5-DC156088CC72}"/>
              </a:ext>
            </a:extLst>
          </p:cNvPr>
          <p:cNvSpPr/>
          <p:nvPr/>
        </p:nvSpPr>
        <p:spPr>
          <a:xfrm>
            <a:off x="4105520" y="3366683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€19</a:t>
            </a:r>
            <a:r>
              <a:rPr lang="el-GR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APR – RG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Segoe UI"/>
              </a:rPr>
              <a:t>1041A522</a:t>
            </a:r>
            <a:endParaRPr lang="en-US" sz="800" dirty="0">
              <a:solidFill>
                <a:schemeClr val="tx1"/>
              </a:solidFill>
              <a:latin typeface="ASICS Font 3.0" panose="00000500000000000000" pitchFamily="50" charset="0"/>
              <a:cs typeface="Segoe UI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Segoe UI"/>
              </a:rPr>
              <a:t>1041A521 (CLAY)</a:t>
            </a:r>
            <a:endParaRPr lang="en-GB" dirty="0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7" name="TextBox 12">
            <a:extLst>
              <a:ext uri="{FF2B5EF4-FFF2-40B4-BE49-F238E27FC236}">
                <a16:creationId xmlns:a16="http://schemas.microsoft.com/office/drawing/2014/main" id="{F883A3F2-189C-58A3-D6BF-DE54E954BDE3}"/>
              </a:ext>
            </a:extLst>
          </p:cNvPr>
          <p:cNvSpPr txBox="1"/>
          <p:nvPr/>
        </p:nvSpPr>
        <p:spPr>
          <a:xfrm>
            <a:off x="2845307" y="3424865"/>
            <a:ext cx="58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BD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4883D6EA-D4A0-5DA7-5B00-42A2D9704A98}"/>
              </a:ext>
            </a:extLst>
          </p:cNvPr>
          <p:cNvSpPr txBox="1"/>
          <p:nvPr/>
        </p:nvSpPr>
        <p:spPr>
          <a:xfrm>
            <a:off x="6669684" y="3424865"/>
            <a:ext cx="58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B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81BE6C6-F2B1-D5F7-8DE7-A81B26213FF8}"/>
              </a:ext>
            </a:extLst>
          </p:cNvPr>
          <p:cNvSpPr/>
          <p:nvPr/>
        </p:nvSpPr>
        <p:spPr>
          <a:xfrm>
            <a:off x="2119000" y="3058314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 panose="00000500000000000000" pitchFamily="50" charset="0"/>
                <a:cs typeface="Helvetica" panose="020B0604020202020204" pitchFamily="34" charset="0"/>
              </a:rPr>
              <a:t>XXX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395684B-F826-1916-3F47-451F3EAF631D}"/>
              </a:ext>
            </a:extLst>
          </p:cNvPr>
          <p:cNvSpPr/>
          <p:nvPr/>
        </p:nvSpPr>
        <p:spPr>
          <a:xfrm>
            <a:off x="6056001" y="3058315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 panose="00000500000000000000" pitchFamily="50" charset="0"/>
                <a:cs typeface="Helvetica" panose="020B0604020202020204" pitchFamily="34" charset="0"/>
              </a:rPr>
              <a:t>XXX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CACC6AA-2DE9-4BE1-BEEB-89CAAA71E2D6}"/>
              </a:ext>
            </a:extLst>
          </p:cNvPr>
          <p:cNvSpPr/>
          <p:nvPr/>
        </p:nvSpPr>
        <p:spPr>
          <a:xfrm>
            <a:off x="3666361" y="797983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556A369-69C1-4EA3-9C72-7F869F24A4DA}"/>
              </a:ext>
            </a:extLst>
          </p:cNvPr>
          <p:cNvSpPr/>
          <p:nvPr/>
        </p:nvSpPr>
        <p:spPr>
          <a:xfrm>
            <a:off x="168679" y="770730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COURT FF 3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40E07FC-F391-4CFA-B35A-EB3798581180}"/>
              </a:ext>
            </a:extLst>
          </p:cNvPr>
          <p:cNvSpPr/>
          <p:nvPr/>
        </p:nvSpPr>
        <p:spPr>
          <a:xfrm>
            <a:off x="165665" y="1072943"/>
            <a:ext cx="1965396" cy="836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9</a:t>
            </a:r>
            <a:r>
              <a:rPr lang="el-GR" sz="800" dirty="0">
                <a:solidFill>
                  <a:schemeClr val="tx1"/>
                </a:solidFill>
                <a:latin typeface="ASICS Font 3.0"/>
                <a:cs typeface="Helvetica"/>
              </a:rPr>
              <a:t>5</a:t>
            </a:r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 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ea typeface="+mn-lt"/>
                <a:cs typeface="Helvetica"/>
              </a:rPr>
              <a:t>1041A370</a:t>
            </a:r>
            <a:endParaRPr lang="en-GB" dirty="0">
              <a:solidFill>
                <a:schemeClr val="tx1"/>
              </a:solidFill>
            </a:endParaRPr>
          </a:p>
          <a:p>
            <a:endParaRPr lang="en-GB" sz="800" dirty="0">
              <a:solidFill>
                <a:schemeClr val="tx1"/>
              </a:solidFill>
              <a:latin typeface="ASICS Font 3.0"/>
              <a:ea typeface="+mn-lt"/>
              <a:cs typeface="Helvetica"/>
            </a:endParaRPr>
          </a:p>
          <a:p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0841CCA-C325-4EA4-BA9A-67380EBB1C70}"/>
              </a:ext>
            </a:extLst>
          </p:cNvPr>
          <p:cNvSpPr/>
          <p:nvPr/>
        </p:nvSpPr>
        <p:spPr>
          <a:xfrm>
            <a:off x="2119001" y="772315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6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DE25EFAB-5314-56CA-02E5-6ED8E272CC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3002" y="991499"/>
            <a:ext cx="1565217" cy="82296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B3148ECD-F88D-4BEE-B8E1-548575555DE2}"/>
              </a:ext>
            </a:extLst>
          </p:cNvPr>
          <p:cNvSpPr/>
          <p:nvPr/>
        </p:nvSpPr>
        <p:spPr>
          <a:xfrm>
            <a:off x="168679" y="5353686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COURT FF 3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45E32F6-1DDA-43E2-8249-4B33C4A89933}"/>
              </a:ext>
            </a:extLst>
          </p:cNvPr>
          <p:cNvSpPr/>
          <p:nvPr/>
        </p:nvSpPr>
        <p:spPr>
          <a:xfrm>
            <a:off x="180754" y="5655899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9</a:t>
            </a:r>
            <a:r>
              <a:rPr lang="el-GR" sz="800" dirty="0">
                <a:solidFill>
                  <a:schemeClr val="tx1"/>
                </a:solidFill>
                <a:latin typeface="ASICS Font 3.0"/>
                <a:cs typeface="Helvetica"/>
              </a:rPr>
              <a:t>5</a:t>
            </a:r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 </a:t>
            </a:r>
            <a:endParaRPr lang="en-GB" dirty="0">
              <a:solidFill>
                <a:schemeClr val="tx1"/>
              </a:solidFill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Segoe UI"/>
              </a:rPr>
              <a:t>1042A221 (CLAY)</a:t>
            </a:r>
            <a:endParaRPr lang="en-GB" sz="800" dirty="0">
              <a:solidFill>
                <a:schemeClr val="tx1"/>
              </a:solidFill>
              <a:latin typeface="ASICS Font 3.0"/>
              <a:cs typeface="Helvetica" panose="020B0604020202020204" pitchFamily="34" charset="0"/>
            </a:endParaRPr>
          </a:p>
          <a:p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260CDC4-E5A8-400C-BD96-112EB4CA4C65}"/>
              </a:ext>
            </a:extLst>
          </p:cNvPr>
          <p:cNvSpPr/>
          <p:nvPr/>
        </p:nvSpPr>
        <p:spPr>
          <a:xfrm>
            <a:off x="3879513" y="5371653"/>
            <a:ext cx="180000" cy="18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48" name="TextBox 19">
            <a:extLst>
              <a:ext uri="{FF2B5EF4-FFF2-40B4-BE49-F238E27FC236}">
                <a16:creationId xmlns:a16="http://schemas.microsoft.com/office/drawing/2014/main" id="{CF543B02-1E1D-0D41-62E7-1D80E94324F2}"/>
              </a:ext>
            </a:extLst>
          </p:cNvPr>
          <p:cNvSpPr txBox="1"/>
          <p:nvPr/>
        </p:nvSpPr>
        <p:spPr>
          <a:xfrm>
            <a:off x="2164213" y="5369984"/>
            <a:ext cx="918200" cy="24622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latin typeface="ASICS Font 3.0"/>
              </a:rPr>
              <a:t>701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F9E1E3FB-CC69-689F-B7C8-3E809113F4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60873" y="5553974"/>
            <a:ext cx="1549098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748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83D807FB-D50C-D48B-1520-90281F3022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4058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D807FB-D50C-D48B-1520-90281F302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7B6F6F7-ACF4-57D3-6652-9202460578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2164" y="3277792"/>
            <a:ext cx="1791477" cy="822960"/>
          </a:xfrm>
          <a:prstGeom prst="rect">
            <a:avLst/>
          </a:prstGeom>
        </p:spPr>
      </p:pic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TENNIS MEN</a:t>
            </a:r>
          </a:p>
          <a:p>
            <a:r>
              <a:rPr lang="en-US"/>
              <a:t>BASELINE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266E573-1798-428A-A392-3E1BB714B573}"/>
              </a:ext>
            </a:extLst>
          </p:cNvPr>
          <p:cNvGrpSpPr/>
          <p:nvPr/>
        </p:nvGrpSpPr>
        <p:grpSpPr>
          <a:xfrm>
            <a:off x="5767348" y="105604"/>
            <a:ext cx="6166360" cy="506458"/>
            <a:chOff x="5767348" y="34045"/>
            <a:chExt cx="6166360" cy="50645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CE8A563-BC19-4109-BF49-C6960E98A29F}"/>
                </a:ext>
              </a:extLst>
            </p:cNvPr>
            <p:cNvGrpSpPr/>
            <p:nvPr/>
          </p:nvGrpSpPr>
          <p:grpSpPr>
            <a:xfrm>
              <a:off x="5822551" y="298670"/>
              <a:ext cx="1962777" cy="180000"/>
              <a:chOff x="6058306" y="79991"/>
              <a:chExt cx="1962777" cy="180000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EF03F4B2-BDF0-4B26-B01B-B669B9A1671D}"/>
                  </a:ext>
                </a:extLst>
              </p:cNvPr>
              <p:cNvSpPr/>
              <p:nvPr/>
            </p:nvSpPr>
            <p:spPr>
              <a:xfrm>
                <a:off x="6058306" y="79991"/>
                <a:ext cx="188822" cy="180000"/>
              </a:xfrm>
              <a:prstGeom prst="ellipse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70BCF8E4-7A06-44AE-806D-C26352FE4B02}"/>
                  </a:ext>
                </a:extLst>
              </p:cNvPr>
              <p:cNvSpPr/>
              <p:nvPr/>
            </p:nvSpPr>
            <p:spPr>
              <a:xfrm>
                <a:off x="6162634" y="103206"/>
                <a:ext cx="1858449" cy="13357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HARD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D02E0FB-7B3F-42AF-BB21-A9C0779AE708}"/>
                </a:ext>
              </a:extLst>
            </p:cNvPr>
            <p:cNvGrpSpPr/>
            <p:nvPr/>
          </p:nvGrpSpPr>
          <p:grpSpPr>
            <a:xfrm>
              <a:off x="7874329" y="298670"/>
              <a:ext cx="1962777" cy="180000"/>
              <a:chOff x="6058306" y="298909"/>
              <a:chExt cx="1962777" cy="180000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38311CEA-89BB-4AFC-A4A0-B1666111C853}"/>
                  </a:ext>
                </a:extLst>
              </p:cNvPr>
              <p:cNvSpPr/>
              <p:nvPr/>
            </p:nvSpPr>
            <p:spPr>
              <a:xfrm>
                <a:off x="6058306" y="298909"/>
                <a:ext cx="188822" cy="180000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8A7B1D2-578D-473D-BB44-8DD89F789088}"/>
                  </a:ext>
                </a:extLst>
              </p:cNvPr>
              <p:cNvSpPr/>
              <p:nvPr/>
            </p:nvSpPr>
            <p:spPr>
              <a:xfrm>
                <a:off x="6162634" y="322124"/>
                <a:ext cx="1858449" cy="13357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CLAY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485C352-0409-492C-A1CD-857D6E0A8E17}"/>
                </a:ext>
              </a:extLst>
            </p:cNvPr>
            <p:cNvGrpSpPr/>
            <p:nvPr/>
          </p:nvGrpSpPr>
          <p:grpSpPr>
            <a:xfrm>
              <a:off x="9926107" y="298670"/>
              <a:ext cx="1962777" cy="180000"/>
              <a:chOff x="6058306" y="517828"/>
              <a:chExt cx="1962777" cy="180000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88ED472-B183-40E6-A083-B691AC7B4107}"/>
                  </a:ext>
                </a:extLst>
              </p:cNvPr>
              <p:cNvSpPr/>
              <p:nvPr/>
            </p:nvSpPr>
            <p:spPr>
              <a:xfrm>
                <a:off x="6058306" y="517828"/>
                <a:ext cx="188822" cy="180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BF3FE71-37FC-464C-A20F-20BC44FA4B84}"/>
                  </a:ext>
                </a:extLst>
              </p:cNvPr>
              <p:cNvSpPr/>
              <p:nvPr/>
            </p:nvSpPr>
            <p:spPr>
              <a:xfrm>
                <a:off x="6162634" y="541043"/>
                <a:ext cx="1858449" cy="13357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INDOOR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B2FE0C5-2479-4A8C-996A-1195521AF5DB}"/>
                </a:ext>
              </a:extLst>
            </p:cNvPr>
            <p:cNvSpPr/>
            <p:nvPr/>
          </p:nvSpPr>
          <p:spPr>
            <a:xfrm>
              <a:off x="5822552" y="34045"/>
              <a:ext cx="6066332" cy="21044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00">
                  <a:solidFill>
                    <a:schemeClr val="tx1"/>
                  </a:solidFill>
                  <a:latin typeface="ASICS Font 3.0" panose="00000500000000000000" pitchFamily="50" charset="0"/>
                  <a:cs typeface="Helvetica" panose="020B0604020202020204" pitchFamily="34" charset="0"/>
                </a:rPr>
                <a:t>OUTSOLE AVAILABILITY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FF068E-F3F9-427B-91D7-0CC2F0E86C9D}"/>
                </a:ext>
              </a:extLst>
            </p:cNvPr>
            <p:cNvSpPr/>
            <p:nvPr/>
          </p:nvSpPr>
          <p:spPr>
            <a:xfrm>
              <a:off x="5767348" y="39811"/>
              <a:ext cx="6166360" cy="50069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latin typeface="ASICS Font 3.0" panose="00000500000000000000" pitchFamily="50" charset="0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095E7A7-8B65-5274-C6EF-08901ECDF950}"/>
              </a:ext>
            </a:extLst>
          </p:cNvPr>
          <p:cNvSpPr/>
          <p:nvPr/>
        </p:nvSpPr>
        <p:spPr>
          <a:xfrm>
            <a:off x="9926900" y="1947006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EC94D164-37C0-7E9D-9281-B419CD34D8C5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95E7A7-8B65-5274-C6EF-08901ECDF950}"/>
              </a:ext>
            </a:extLst>
          </p:cNvPr>
          <p:cNvSpPr/>
          <p:nvPr/>
        </p:nvSpPr>
        <p:spPr>
          <a:xfrm>
            <a:off x="9926900" y="1947006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BEF29B-2E55-A6A7-8A8F-94DBA826F846}"/>
              </a:ext>
            </a:extLst>
          </p:cNvPr>
          <p:cNvSpPr/>
          <p:nvPr/>
        </p:nvSpPr>
        <p:spPr>
          <a:xfrm>
            <a:off x="8037344" y="2094531"/>
            <a:ext cx="1950307" cy="1005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br>
              <a:rPr lang="en-GB" sz="80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21A9689-5F89-129B-F801-C5291F14758C}"/>
              </a:ext>
            </a:extLst>
          </p:cNvPr>
          <p:cNvSpPr/>
          <p:nvPr/>
        </p:nvSpPr>
        <p:spPr>
          <a:xfrm>
            <a:off x="8041111" y="193778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A55A65-DE3A-3E8F-D0BE-59E21B62D07D}"/>
              </a:ext>
            </a:extLst>
          </p:cNvPr>
          <p:cNvSpPr/>
          <p:nvPr/>
        </p:nvSpPr>
        <p:spPr>
          <a:xfrm>
            <a:off x="168679" y="76458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RESOLUTION X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B450143-5830-E34F-ADFE-A0F179EEBC1C}"/>
              </a:ext>
            </a:extLst>
          </p:cNvPr>
          <p:cNvSpPr/>
          <p:nvPr/>
        </p:nvSpPr>
        <p:spPr>
          <a:xfrm>
            <a:off x="180754" y="1066800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 - AO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48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8A0B9DC-60C3-AADB-2614-7A49FE9F4C08}"/>
              </a:ext>
            </a:extLst>
          </p:cNvPr>
          <p:cNvSpPr/>
          <p:nvPr/>
        </p:nvSpPr>
        <p:spPr>
          <a:xfrm>
            <a:off x="3666361" y="834962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0C73F92-6513-87B3-48E0-7D85B1FD7D20}"/>
              </a:ext>
            </a:extLst>
          </p:cNvPr>
          <p:cNvSpPr/>
          <p:nvPr/>
        </p:nvSpPr>
        <p:spPr>
          <a:xfrm>
            <a:off x="191089" y="4225840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DEDICATE 8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CFC41F-36CC-2C1B-0767-D387698BBA6E}"/>
              </a:ext>
            </a:extLst>
          </p:cNvPr>
          <p:cNvSpPr/>
          <p:nvPr/>
        </p:nvSpPr>
        <p:spPr>
          <a:xfrm>
            <a:off x="195479" y="4459646"/>
            <a:ext cx="1950307" cy="931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7</a:t>
            </a:r>
            <a:r>
              <a:rPr lang="el-GR" sz="800" dirty="0">
                <a:solidFill>
                  <a:schemeClr val="tx1"/>
                </a:solidFill>
                <a:latin typeface="ASICS Font 3.0"/>
                <a:cs typeface="Helvetica"/>
              </a:rPr>
              <a:t>9</a:t>
            </a:r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  <a:br>
              <a:rPr lang="en-GB" sz="800" dirty="0">
                <a:solidFill>
                  <a:schemeClr val="tx1"/>
                </a:solidFill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fr-FR" sz="800" dirty="0">
                <a:solidFill>
                  <a:schemeClr val="tx1"/>
                </a:solidFill>
                <a:latin typeface="ASICS Font 3.0"/>
                <a:cs typeface="Helvetica"/>
              </a:rPr>
              <a:t>1041A408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ED4DEF7-8A06-5CD4-5C48-8425511DE783}"/>
              </a:ext>
            </a:extLst>
          </p:cNvPr>
          <p:cNvSpPr/>
          <p:nvPr/>
        </p:nvSpPr>
        <p:spPr>
          <a:xfrm>
            <a:off x="184507" y="304149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GEL-CHALLENGER 15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FF0E1A8-BF8F-69C4-996C-FB43C70160F3}"/>
              </a:ext>
            </a:extLst>
          </p:cNvPr>
          <p:cNvSpPr/>
          <p:nvPr/>
        </p:nvSpPr>
        <p:spPr>
          <a:xfrm>
            <a:off x="195479" y="3303781"/>
            <a:ext cx="1950307" cy="891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3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fr-FR" sz="800" dirty="0">
                <a:solidFill>
                  <a:schemeClr val="tx1"/>
                </a:solidFill>
                <a:latin typeface="ASICS Font 3.0"/>
                <a:cs typeface="Helvetica"/>
              </a:rPr>
              <a:t>1041A510</a:t>
            </a:r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  <a:p>
            <a:r>
              <a:rPr lang="fr-FR" sz="800" dirty="0">
                <a:solidFill>
                  <a:schemeClr val="tx1"/>
                </a:solidFill>
                <a:latin typeface="ASICS Font 3.0"/>
                <a:cs typeface="Helvetica"/>
              </a:rPr>
              <a:t>1041A508 (CLAY)</a:t>
            </a:r>
            <a:endParaRPr lang="en-GB" dirty="0">
              <a:solidFill>
                <a:schemeClr val="tx1"/>
              </a:solidFill>
              <a:ea typeface="Calibri" panose="020F0502020204030204"/>
              <a:cs typeface="Calibri" panose="020F0502020204030204"/>
            </a:endParaRPr>
          </a:p>
          <a:p>
            <a:endParaRPr lang="fr-FR" sz="800" dirty="0">
              <a:solidFill>
                <a:schemeClr val="tx1"/>
              </a:solidFill>
              <a:latin typeface="ASICS Font 3.0"/>
              <a:cs typeface="Helvetica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418FB15-767D-7FFD-41BE-4A0685F24BD2}"/>
              </a:ext>
            </a:extLst>
          </p:cNvPr>
          <p:cNvSpPr/>
          <p:nvPr/>
        </p:nvSpPr>
        <p:spPr>
          <a:xfrm>
            <a:off x="4092690" y="793430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EE9026D-56ED-0FCB-D691-09F8D3541BE0}"/>
              </a:ext>
            </a:extLst>
          </p:cNvPr>
          <p:cNvSpPr/>
          <p:nvPr/>
        </p:nvSpPr>
        <p:spPr>
          <a:xfrm>
            <a:off x="2160204" y="3093286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 panose="00000500000000000000" pitchFamily="50" charset="0"/>
                <a:cs typeface="Helvetica" panose="020B0604020202020204" pitchFamily="34" charset="0"/>
              </a:rPr>
              <a:t>102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CE482DC-4240-32E8-BC4F-F7E65ABDD552}"/>
              </a:ext>
            </a:extLst>
          </p:cNvPr>
          <p:cNvSpPr/>
          <p:nvPr/>
        </p:nvSpPr>
        <p:spPr>
          <a:xfrm>
            <a:off x="2138845" y="805408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3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00482E0-E340-58ED-9F5B-57BD7EB3383A}"/>
              </a:ext>
            </a:extLst>
          </p:cNvPr>
          <p:cNvSpPr/>
          <p:nvPr/>
        </p:nvSpPr>
        <p:spPr>
          <a:xfrm>
            <a:off x="2154668" y="4249199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3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ADA66ADC-574B-A195-6B72-269793A78135}"/>
              </a:ext>
            </a:extLst>
          </p:cNvPr>
          <p:cNvSpPr/>
          <p:nvPr/>
        </p:nvSpPr>
        <p:spPr>
          <a:xfrm>
            <a:off x="3653901" y="3125826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EB2894D6-F306-5EC2-7EA5-06583C19B8FC}"/>
              </a:ext>
            </a:extLst>
          </p:cNvPr>
          <p:cNvSpPr/>
          <p:nvPr/>
        </p:nvSpPr>
        <p:spPr>
          <a:xfrm>
            <a:off x="3650227" y="4269365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04A2AF22-17D8-BE28-4E63-482D781B7A95}"/>
              </a:ext>
            </a:extLst>
          </p:cNvPr>
          <p:cNvSpPr/>
          <p:nvPr/>
        </p:nvSpPr>
        <p:spPr>
          <a:xfrm>
            <a:off x="5623727" y="4259946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8738C6E2-94CE-A441-AD49-32D97EC0471F}"/>
              </a:ext>
            </a:extLst>
          </p:cNvPr>
          <p:cNvSpPr/>
          <p:nvPr/>
        </p:nvSpPr>
        <p:spPr>
          <a:xfrm>
            <a:off x="4076531" y="4229499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003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4081F3B-9560-B202-D74E-E19C2EA03B8B}"/>
              </a:ext>
            </a:extLst>
          </p:cNvPr>
          <p:cNvSpPr/>
          <p:nvPr/>
        </p:nvSpPr>
        <p:spPr>
          <a:xfrm>
            <a:off x="4141404" y="3093286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02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5751384F-382D-2401-B40A-C66738DD5F4D}"/>
              </a:ext>
            </a:extLst>
          </p:cNvPr>
          <p:cNvSpPr/>
          <p:nvPr/>
        </p:nvSpPr>
        <p:spPr>
          <a:xfrm>
            <a:off x="5635101" y="3125826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FC214815-F9F8-BC95-ED99-3931B0F4AC32}"/>
              </a:ext>
            </a:extLst>
          </p:cNvPr>
          <p:cNvSpPr/>
          <p:nvPr/>
        </p:nvSpPr>
        <p:spPr>
          <a:xfrm>
            <a:off x="5848253" y="3125826"/>
            <a:ext cx="180000" cy="18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653E235-F603-8125-8FEC-6E47E4D53E07}"/>
              </a:ext>
            </a:extLst>
          </p:cNvPr>
          <p:cNvSpPr/>
          <p:nvPr/>
        </p:nvSpPr>
        <p:spPr>
          <a:xfrm>
            <a:off x="8037344" y="2094531"/>
            <a:ext cx="1950307" cy="1005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br>
              <a:rPr lang="en-GB" sz="80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3002A19-DFE9-3537-D122-FC973853B9A3}"/>
              </a:ext>
            </a:extLst>
          </p:cNvPr>
          <p:cNvSpPr/>
          <p:nvPr/>
        </p:nvSpPr>
        <p:spPr>
          <a:xfrm>
            <a:off x="8041111" y="193778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99" name="TextBox 60">
            <a:extLst>
              <a:ext uri="{FF2B5EF4-FFF2-40B4-BE49-F238E27FC236}">
                <a16:creationId xmlns:a16="http://schemas.microsoft.com/office/drawing/2014/main" id="{497E3A5A-11AD-6D72-AC50-CD9811F18090}"/>
              </a:ext>
            </a:extLst>
          </p:cNvPr>
          <p:cNvSpPr txBox="1"/>
          <p:nvPr/>
        </p:nvSpPr>
        <p:spPr>
          <a:xfrm>
            <a:off x="4093029" y="1046250"/>
            <a:ext cx="2743200" cy="830997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latin typeface="ASICS Font 3.0"/>
                <a:cs typeface="Segoe UI"/>
              </a:rPr>
              <a:t>CUD​</a:t>
            </a:r>
          </a:p>
          <a:p>
            <a:r>
              <a:rPr lang="en-GB" sz="800">
                <a:latin typeface="ASICS Font 3.0"/>
                <a:cs typeface="Segoe UI"/>
              </a:rPr>
              <a:t>€160</a:t>
            </a:r>
            <a:r>
              <a:rPr lang="en-US" sz="800">
                <a:latin typeface="ASICS Font 3.0"/>
                <a:cs typeface="Segoe UI"/>
              </a:rPr>
              <a:t>​</a:t>
            </a:r>
          </a:p>
          <a:p>
            <a:r>
              <a:rPr lang="en-GB" sz="800">
                <a:latin typeface="ASICS Font 3.0"/>
                <a:cs typeface="Segoe UI"/>
              </a:rPr>
              <a:t>APR</a:t>
            </a:r>
            <a:r>
              <a:rPr lang="en-US" sz="800">
                <a:latin typeface="ASICS Font 3.0"/>
                <a:cs typeface="Segoe UI"/>
              </a:rPr>
              <a:t>​ - RG</a:t>
            </a:r>
            <a:br>
              <a:rPr lang="en-US" sz="800">
                <a:latin typeface="ASICS Font 3.0"/>
                <a:cs typeface="Segoe UI"/>
              </a:rPr>
            </a:br>
            <a:r>
              <a:rPr lang="en-GB" sz="800">
                <a:latin typeface="ASICS Font 3.0"/>
                <a:cs typeface="Segoe UI"/>
              </a:rPr>
              <a:t>GOLD</a:t>
            </a:r>
            <a:r>
              <a:rPr lang="en-US" sz="800">
                <a:latin typeface="ASICS Font 3.0"/>
                <a:cs typeface="Segoe UI"/>
              </a:rPr>
              <a:t>​</a:t>
            </a:r>
            <a:br>
              <a:rPr lang="en-US" sz="800">
                <a:latin typeface="ASICS Font 3.0"/>
                <a:cs typeface="Segoe UI"/>
              </a:rPr>
            </a:br>
            <a:r>
              <a:rPr lang="en-GB" sz="800">
                <a:latin typeface="ASICS Font 3.0"/>
                <a:cs typeface="Segoe UI"/>
              </a:rPr>
              <a:t>1041A481</a:t>
            </a:r>
            <a:r>
              <a:rPr lang="en-US" sz="800">
                <a:latin typeface="ASICS Font 3.0"/>
                <a:cs typeface="Segoe UI"/>
              </a:rPr>
              <a:t>​</a:t>
            </a:r>
          </a:p>
          <a:p>
            <a:r>
              <a:rPr lang="en-GB" sz="800">
                <a:latin typeface="ASICS Font 3.0"/>
                <a:cs typeface="Segoe UI"/>
              </a:rPr>
              <a:t>1041A485 (CLAY)</a:t>
            </a:r>
          </a:p>
        </p:txBody>
      </p:sp>
      <p:sp>
        <p:nvSpPr>
          <p:cNvPr id="100" name="TextBox 67">
            <a:extLst>
              <a:ext uri="{FF2B5EF4-FFF2-40B4-BE49-F238E27FC236}">
                <a16:creationId xmlns:a16="http://schemas.microsoft.com/office/drawing/2014/main" id="{AECF7937-7278-0F3A-1BBA-B3F343F47697}"/>
              </a:ext>
            </a:extLst>
          </p:cNvPr>
          <p:cNvSpPr txBox="1"/>
          <p:nvPr/>
        </p:nvSpPr>
        <p:spPr>
          <a:xfrm>
            <a:off x="4136571" y="816429"/>
            <a:ext cx="2743200" cy="24622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latin typeface="ASICS Font 3.0"/>
              </a:rPr>
              <a:t>GEL-RESOLUTION X</a:t>
            </a:r>
            <a:r>
              <a:rPr lang="en-US" sz="1000">
                <a:latin typeface="ASICS Font 3.0"/>
              </a:rPr>
              <a:t>​</a:t>
            </a:r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61E6C159-411B-2419-A090-0672FDCDC4C3}"/>
              </a:ext>
            </a:extLst>
          </p:cNvPr>
          <p:cNvSpPr/>
          <p:nvPr/>
        </p:nvSpPr>
        <p:spPr>
          <a:xfrm>
            <a:off x="7787484" y="834961"/>
            <a:ext cx="180000" cy="18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BCD7AF09-6819-43B4-6EF1-D55E16407A5E}"/>
              </a:ext>
            </a:extLst>
          </p:cNvPr>
          <p:cNvSpPr/>
          <p:nvPr/>
        </p:nvSpPr>
        <p:spPr>
          <a:xfrm>
            <a:off x="7563446" y="824076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132D86F-AA69-6105-CFF4-57350FB2BD13}"/>
              </a:ext>
            </a:extLst>
          </p:cNvPr>
          <p:cNvSpPr/>
          <p:nvPr/>
        </p:nvSpPr>
        <p:spPr>
          <a:xfrm>
            <a:off x="6155673" y="805408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2</a:t>
            </a: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2B81023F-3371-6948-FB1E-6E0187C816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94347" y="1015401"/>
            <a:ext cx="1738269" cy="822960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552C0CA8-82E4-AAF0-F859-1058D9D40D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1324" y="1008212"/>
            <a:ext cx="1752723" cy="822960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E73D836F-3331-1789-3521-7A56294D61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05405" y="3282171"/>
            <a:ext cx="1724040" cy="822960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6624F751-E0F2-B923-EFE5-28F0B1F8B3A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69857" y="4449365"/>
            <a:ext cx="1828800" cy="822960"/>
          </a:xfrm>
          <a:prstGeom prst="rect">
            <a:avLst/>
          </a:prstGeom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F8DFD7CA-8C05-27E8-4E53-68BCEDC68D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84981" y="4465878"/>
            <a:ext cx="1813059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533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6DD421C-AE4E-A56E-2111-AC29A14A5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6229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DD421C-AE4E-A56E-2111-AC29A14A5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109">
            <a:extLst>
              <a:ext uri="{FF2B5EF4-FFF2-40B4-BE49-F238E27FC236}">
                <a16:creationId xmlns:a16="http://schemas.microsoft.com/office/drawing/2014/main" id="{E6F095C9-B05C-1A2F-9BD0-856E08338C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61383" y="1048828"/>
            <a:ext cx="1704510" cy="822960"/>
          </a:xfrm>
          <a:prstGeom prst="rect">
            <a:avLst/>
          </a:prstGeom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74CCF0B6-39BA-8D8A-043C-563C3D885A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47845" y="1063206"/>
            <a:ext cx="1752723" cy="822960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66EA52BF-1901-655A-9FB2-AE95731271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04837" y="3319625"/>
            <a:ext cx="1779372" cy="822960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011846DD-4E0E-C6A4-51AF-8BD2052997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3735" y="4493826"/>
            <a:ext cx="1738269" cy="822960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6293B27D-8FC8-210C-14CA-7955CDB852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86505" y="5629142"/>
            <a:ext cx="1755648" cy="822960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1578C174-44E5-3022-6D7B-0C6F1B78F94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36060" y="1016446"/>
            <a:ext cx="1718415" cy="822960"/>
          </a:xfrm>
          <a:prstGeom prst="rect">
            <a:avLst/>
          </a:prstGeom>
        </p:spPr>
      </p:pic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TENNIS MEN</a:t>
            </a:r>
          </a:p>
          <a:p>
            <a:r>
              <a:rPr lang="en-US"/>
              <a:t>ALL-COURT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266E573-1798-428A-A392-3E1BB714B573}"/>
              </a:ext>
            </a:extLst>
          </p:cNvPr>
          <p:cNvGrpSpPr/>
          <p:nvPr/>
        </p:nvGrpSpPr>
        <p:grpSpPr>
          <a:xfrm>
            <a:off x="5767348" y="105604"/>
            <a:ext cx="6166360" cy="506458"/>
            <a:chOff x="5767348" y="34045"/>
            <a:chExt cx="6166360" cy="50645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CE8A563-BC19-4109-BF49-C6960E98A29F}"/>
                </a:ext>
              </a:extLst>
            </p:cNvPr>
            <p:cNvGrpSpPr/>
            <p:nvPr/>
          </p:nvGrpSpPr>
          <p:grpSpPr>
            <a:xfrm>
              <a:off x="5822551" y="298670"/>
              <a:ext cx="1962777" cy="180000"/>
              <a:chOff x="6058306" y="79991"/>
              <a:chExt cx="1962777" cy="180000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EF03F4B2-BDF0-4B26-B01B-B669B9A1671D}"/>
                  </a:ext>
                </a:extLst>
              </p:cNvPr>
              <p:cNvSpPr/>
              <p:nvPr/>
            </p:nvSpPr>
            <p:spPr>
              <a:xfrm>
                <a:off x="6058306" y="79991"/>
                <a:ext cx="188822" cy="180000"/>
              </a:xfrm>
              <a:prstGeom prst="ellipse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70BCF8E4-7A06-44AE-806D-C26352FE4B02}"/>
                  </a:ext>
                </a:extLst>
              </p:cNvPr>
              <p:cNvSpPr/>
              <p:nvPr/>
            </p:nvSpPr>
            <p:spPr>
              <a:xfrm>
                <a:off x="6162634" y="103206"/>
                <a:ext cx="1858449" cy="13357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HARD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D02E0FB-7B3F-42AF-BB21-A9C0779AE708}"/>
                </a:ext>
              </a:extLst>
            </p:cNvPr>
            <p:cNvGrpSpPr/>
            <p:nvPr/>
          </p:nvGrpSpPr>
          <p:grpSpPr>
            <a:xfrm>
              <a:off x="7874329" y="298670"/>
              <a:ext cx="1962777" cy="180000"/>
              <a:chOff x="6058306" y="298909"/>
              <a:chExt cx="1962777" cy="180000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38311CEA-89BB-4AFC-A4A0-B1666111C853}"/>
                  </a:ext>
                </a:extLst>
              </p:cNvPr>
              <p:cNvSpPr/>
              <p:nvPr/>
            </p:nvSpPr>
            <p:spPr>
              <a:xfrm>
                <a:off x="6058306" y="298909"/>
                <a:ext cx="188822" cy="180000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8A7B1D2-578D-473D-BB44-8DD89F789088}"/>
                  </a:ext>
                </a:extLst>
              </p:cNvPr>
              <p:cNvSpPr/>
              <p:nvPr/>
            </p:nvSpPr>
            <p:spPr>
              <a:xfrm>
                <a:off x="6162634" y="322124"/>
                <a:ext cx="1858449" cy="13357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CLAY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485C352-0409-492C-A1CD-857D6E0A8E17}"/>
                </a:ext>
              </a:extLst>
            </p:cNvPr>
            <p:cNvGrpSpPr/>
            <p:nvPr/>
          </p:nvGrpSpPr>
          <p:grpSpPr>
            <a:xfrm>
              <a:off x="9926107" y="298670"/>
              <a:ext cx="1962777" cy="180000"/>
              <a:chOff x="6058306" y="517828"/>
              <a:chExt cx="1962777" cy="180000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88ED472-B183-40E6-A083-B691AC7B4107}"/>
                  </a:ext>
                </a:extLst>
              </p:cNvPr>
              <p:cNvSpPr/>
              <p:nvPr/>
            </p:nvSpPr>
            <p:spPr>
              <a:xfrm>
                <a:off x="6058306" y="517828"/>
                <a:ext cx="188822" cy="180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BF3FE71-37FC-464C-A20F-20BC44FA4B84}"/>
                  </a:ext>
                </a:extLst>
              </p:cNvPr>
              <p:cNvSpPr/>
              <p:nvPr/>
            </p:nvSpPr>
            <p:spPr>
              <a:xfrm>
                <a:off x="6162634" y="541043"/>
                <a:ext cx="1858449" cy="13357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INDOOR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B2FE0C5-2479-4A8C-996A-1195521AF5DB}"/>
                </a:ext>
              </a:extLst>
            </p:cNvPr>
            <p:cNvSpPr/>
            <p:nvPr/>
          </p:nvSpPr>
          <p:spPr>
            <a:xfrm>
              <a:off x="5822552" y="34045"/>
              <a:ext cx="6066332" cy="21044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00">
                  <a:solidFill>
                    <a:schemeClr val="tx1"/>
                  </a:solidFill>
                  <a:latin typeface="ASICS Font 3.0" panose="00000500000000000000" pitchFamily="50" charset="0"/>
                  <a:cs typeface="Helvetica" panose="020B0604020202020204" pitchFamily="34" charset="0"/>
                </a:rPr>
                <a:t>OUTSOLE AVAILABILITY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FF068E-F3F9-427B-91D7-0CC2F0E86C9D}"/>
                </a:ext>
              </a:extLst>
            </p:cNvPr>
            <p:cNvSpPr/>
            <p:nvPr/>
          </p:nvSpPr>
          <p:spPr>
            <a:xfrm>
              <a:off x="5767348" y="39811"/>
              <a:ext cx="6166360" cy="50069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latin typeface="ASICS Font 3.0" panose="00000500000000000000" pitchFamily="50" charset="0"/>
              </a:endParaRPr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CE93F210-8147-4FFC-9ADB-F19F13B6C513}"/>
              </a:ext>
            </a:extLst>
          </p:cNvPr>
          <p:cNvSpPr/>
          <p:nvPr/>
        </p:nvSpPr>
        <p:spPr>
          <a:xfrm>
            <a:off x="9987530" y="767755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E6DFC32-683E-3A85-C048-6532AA38ED84}"/>
              </a:ext>
            </a:extLst>
          </p:cNvPr>
          <p:cNvSpPr/>
          <p:nvPr/>
        </p:nvSpPr>
        <p:spPr>
          <a:xfrm>
            <a:off x="9971344" y="1949448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A172509-73F1-4138-5A81-725EBF7508FB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E93F210-8147-4FFC-9ADB-F19F13B6C513}"/>
              </a:ext>
            </a:extLst>
          </p:cNvPr>
          <p:cNvSpPr/>
          <p:nvPr/>
        </p:nvSpPr>
        <p:spPr>
          <a:xfrm>
            <a:off x="9987530" y="767755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6DFC32-683E-3A85-C048-6532AA38ED84}"/>
              </a:ext>
            </a:extLst>
          </p:cNvPr>
          <p:cNvSpPr/>
          <p:nvPr/>
        </p:nvSpPr>
        <p:spPr>
          <a:xfrm>
            <a:off x="9971344" y="1949448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0E57B5E-E338-EDBE-061E-667F50DBAB22}"/>
              </a:ext>
            </a:extLst>
          </p:cNvPr>
          <p:cNvSpPr/>
          <p:nvPr/>
        </p:nvSpPr>
        <p:spPr>
          <a:xfrm>
            <a:off x="7575005" y="829316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4FDA200-C5C3-51EC-E091-174969F15CF1}"/>
              </a:ext>
            </a:extLst>
          </p:cNvPr>
          <p:cNvSpPr/>
          <p:nvPr/>
        </p:nvSpPr>
        <p:spPr>
          <a:xfrm>
            <a:off x="7788157" y="829316"/>
            <a:ext cx="180000" cy="18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B8590B6-AB6A-20E1-D1BA-6ABFFA1EE34C}"/>
              </a:ext>
            </a:extLst>
          </p:cNvPr>
          <p:cNvSpPr/>
          <p:nvPr/>
        </p:nvSpPr>
        <p:spPr>
          <a:xfrm>
            <a:off x="8023553" y="2087882"/>
            <a:ext cx="1950307" cy="1005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br>
              <a:rPr lang="en-GB" sz="80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B29B838-792A-4356-8513-23E2E128548F}"/>
              </a:ext>
            </a:extLst>
          </p:cNvPr>
          <p:cNvSpPr/>
          <p:nvPr/>
        </p:nvSpPr>
        <p:spPr>
          <a:xfrm>
            <a:off x="168679" y="76458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SOLUTION SPEED FF 4</a:t>
            </a:r>
            <a:endParaRPr lang="en-NL" sz="10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1CAE1D9-0FAC-426E-A03C-EBE24C174929}"/>
              </a:ext>
            </a:extLst>
          </p:cNvPr>
          <p:cNvSpPr/>
          <p:nvPr/>
        </p:nvSpPr>
        <p:spPr>
          <a:xfrm>
            <a:off x="180754" y="946600"/>
            <a:ext cx="1950307" cy="1005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NEW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 - AO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532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1071331-7BAA-4722-93E0-85AC6585C4E0}"/>
              </a:ext>
            </a:extLst>
          </p:cNvPr>
          <p:cNvSpPr/>
          <p:nvPr/>
        </p:nvSpPr>
        <p:spPr>
          <a:xfrm>
            <a:off x="3666361" y="817378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D55B9F5-1E43-4C63-8F3F-C721908EF68B}"/>
              </a:ext>
            </a:extLst>
          </p:cNvPr>
          <p:cNvSpPr/>
          <p:nvPr/>
        </p:nvSpPr>
        <p:spPr>
          <a:xfrm>
            <a:off x="156604" y="5394919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COURT SLIDE 4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757823C-702C-4896-B9E9-744F4E9C3B39}"/>
              </a:ext>
            </a:extLst>
          </p:cNvPr>
          <p:cNvSpPr/>
          <p:nvPr/>
        </p:nvSpPr>
        <p:spPr>
          <a:xfrm>
            <a:off x="168679" y="5697132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6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BRONZE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483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DDA80EC1-31A7-4449-B372-E0AF6E9145C9}"/>
              </a:ext>
            </a:extLst>
          </p:cNvPr>
          <p:cNvSpPr/>
          <p:nvPr/>
        </p:nvSpPr>
        <p:spPr>
          <a:xfrm>
            <a:off x="3675522" y="3117585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D5301E1-C790-4E42-B697-CC7609FAFDFB}"/>
              </a:ext>
            </a:extLst>
          </p:cNvPr>
          <p:cNvSpPr/>
          <p:nvPr/>
        </p:nvSpPr>
        <p:spPr>
          <a:xfrm>
            <a:off x="179636" y="3075465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SOLUTION SWIFT FF 2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6961C72-5E60-424A-8CB3-20DEC025AEE0}"/>
              </a:ext>
            </a:extLst>
          </p:cNvPr>
          <p:cNvSpPr/>
          <p:nvPr/>
        </p:nvSpPr>
        <p:spPr>
          <a:xfrm>
            <a:off x="191711" y="3377678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</a:t>
            </a:r>
            <a:r>
              <a:rPr lang="el-GR" sz="800" dirty="0">
                <a:solidFill>
                  <a:schemeClr val="tx1"/>
                </a:solidFill>
                <a:latin typeface="ASICS Font 3.0"/>
                <a:cs typeface="Helvetica"/>
              </a:rPr>
              <a:t>30</a:t>
            </a:r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466</a:t>
            </a:r>
          </a:p>
          <a:p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2A4A767-7AC9-420A-AC19-04A49D98D49E}"/>
              </a:ext>
            </a:extLst>
          </p:cNvPr>
          <p:cNvSpPr/>
          <p:nvPr/>
        </p:nvSpPr>
        <p:spPr>
          <a:xfrm>
            <a:off x="156604" y="4222036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AME FF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13E5B23-FBD2-46F7-9724-9BF56BDB73A6}"/>
              </a:ext>
            </a:extLst>
          </p:cNvPr>
          <p:cNvSpPr/>
          <p:nvPr/>
        </p:nvSpPr>
        <p:spPr>
          <a:xfrm>
            <a:off x="168679" y="4524249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0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489</a:t>
            </a:r>
          </a:p>
          <a:p>
            <a:endParaRPr lang="en-GB" sz="800" b="1" dirty="0">
              <a:solidFill>
                <a:schemeClr val="tx1"/>
              </a:solidFill>
              <a:latin typeface="ASICS Font 3.0"/>
              <a:cs typeface="Helvetica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E437BF80-2DC4-4504-8065-D55D75CC185C}"/>
              </a:ext>
            </a:extLst>
          </p:cNvPr>
          <p:cNvSpPr/>
          <p:nvPr/>
        </p:nvSpPr>
        <p:spPr>
          <a:xfrm>
            <a:off x="3592027" y="4264810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7C9CDAA-5AC1-4AE4-89A6-F4557620D4C5}"/>
              </a:ext>
            </a:extLst>
          </p:cNvPr>
          <p:cNvSpPr/>
          <p:nvPr/>
        </p:nvSpPr>
        <p:spPr>
          <a:xfrm>
            <a:off x="2134395" y="3070043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4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C461C81-8B9E-4987-A42B-9A3B3D7BC215}"/>
              </a:ext>
            </a:extLst>
          </p:cNvPr>
          <p:cNvSpPr/>
          <p:nvPr/>
        </p:nvSpPr>
        <p:spPr>
          <a:xfrm>
            <a:off x="2136062" y="809972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1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2E0F08EE-3483-453A-A65C-BC932099DDB3}"/>
              </a:ext>
            </a:extLst>
          </p:cNvPr>
          <p:cNvSpPr/>
          <p:nvPr/>
        </p:nvSpPr>
        <p:spPr>
          <a:xfrm>
            <a:off x="2131061" y="3075298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16F9E556-AD21-AD92-31DA-487DE4F5E077}"/>
              </a:ext>
            </a:extLst>
          </p:cNvPr>
          <p:cNvSpPr/>
          <p:nvPr/>
        </p:nvSpPr>
        <p:spPr>
          <a:xfrm>
            <a:off x="3835882" y="5536373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1A00F3F-80C4-569E-FCD1-25A7FE9A0984}"/>
              </a:ext>
            </a:extLst>
          </p:cNvPr>
          <p:cNvSpPr/>
          <p:nvPr/>
        </p:nvSpPr>
        <p:spPr>
          <a:xfrm>
            <a:off x="9938927" y="810009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26047CA7-4B7B-98EB-7A9D-987674A5A55A}"/>
              </a:ext>
            </a:extLst>
          </p:cNvPr>
          <p:cNvSpPr/>
          <p:nvPr/>
        </p:nvSpPr>
        <p:spPr>
          <a:xfrm>
            <a:off x="11494641" y="825528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B5CC2F7B-4557-5BC1-8F1F-4DA898FE37B6}"/>
              </a:ext>
            </a:extLst>
          </p:cNvPr>
          <p:cNvSpPr/>
          <p:nvPr/>
        </p:nvSpPr>
        <p:spPr>
          <a:xfrm>
            <a:off x="8005559" y="795322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SOLUTION SPEED FF 4 </a:t>
            </a:r>
            <a:endParaRPr lang="en-US" sz="7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81BC3EA-B794-EB81-E896-1A3D8EF225D0}"/>
              </a:ext>
            </a:extLst>
          </p:cNvPr>
          <p:cNvSpPr/>
          <p:nvPr/>
        </p:nvSpPr>
        <p:spPr>
          <a:xfrm>
            <a:off x="8017634" y="937808"/>
            <a:ext cx="1950307" cy="1005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NEW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1A532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20E57B5E-E338-EDBE-061E-667F50DBAB22}"/>
              </a:ext>
            </a:extLst>
          </p:cNvPr>
          <p:cNvSpPr/>
          <p:nvPr/>
        </p:nvSpPr>
        <p:spPr>
          <a:xfrm>
            <a:off x="7575005" y="829316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E4FDA200-C5C3-51EC-E091-174969F15CF1}"/>
              </a:ext>
            </a:extLst>
          </p:cNvPr>
          <p:cNvSpPr/>
          <p:nvPr/>
        </p:nvSpPr>
        <p:spPr>
          <a:xfrm>
            <a:off x="7788157" y="829316"/>
            <a:ext cx="180000" cy="18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D727647-3953-11B0-5724-B4054F39AE71}"/>
              </a:ext>
            </a:extLst>
          </p:cNvPr>
          <p:cNvSpPr/>
          <p:nvPr/>
        </p:nvSpPr>
        <p:spPr>
          <a:xfrm>
            <a:off x="6044706" y="821910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DDF3D41E-E3D2-A7DA-0FE2-D720F9866CDF}"/>
              </a:ext>
            </a:extLst>
          </p:cNvPr>
          <p:cNvSpPr/>
          <p:nvPr/>
        </p:nvSpPr>
        <p:spPr>
          <a:xfrm>
            <a:off x="4093606" y="969435"/>
            <a:ext cx="1950307" cy="1005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NEW</a:t>
            </a: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APR - RG</a:t>
            </a:r>
          </a:p>
          <a:p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1041A532</a:t>
            </a:r>
            <a:br>
              <a:rPr lang="en-GB" sz="80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>
                <a:solidFill>
                  <a:schemeClr val="tx1"/>
                </a:solidFill>
                <a:latin typeface="ASICS Font 3.0"/>
                <a:cs typeface="Helvetica"/>
              </a:rPr>
              <a:t>1041A533 (CLAY)</a:t>
            </a:r>
            <a:br>
              <a:rPr lang="en-GB" sz="80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580A04CE-04BA-7767-3407-A71A7A920AF4}"/>
              </a:ext>
            </a:extLst>
          </p:cNvPr>
          <p:cNvSpPr/>
          <p:nvPr/>
        </p:nvSpPr>
        <p:spPr>
          <a:xfrm>
            <a:off x="2081541" y="4221801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4F3CB5B3-2252-C2CF-8FF3-DD1EC8607962}"/>
              </a:ext>
            </a:extLst>
          </p:cNvPr>
          <p:cNvSpPr/>
          <p:nvPr/>
        </p:nvSpPr>
        <p:spPr>
          <a:xfrm>
            <a:off x="2118986" y="5490053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020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768BE5A3-F3BB-1C07-FAD3-28E5024A127B}"/>
              </a:ext>
            </a:extLst>
          </p:cNvPr>
          <p:cNvSpPr/>
          <p:nvPr/>
        </p:nvSpPr>
        <p:spPr>
          <a:xfrm>
            <a:off x="4097373" y="812691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SOLUTION SPEED FF 4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D0C49BB5-D196-31A0-CC24-85C415E82CD7}"/>
              </a:ext>
            </a:extLst>
          </p:cNvPr>
          <p:cNvSpPr/>
          <p:nvPr/>
        </p:nvSpPr>
        <p:spPr>
          <a:xfrm>
            <a:off x="7582126" y="1961633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64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B8DBBD2-C7B1-9584-3064-9B0DD81AC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930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8DBBD2-C7B1-9584-3064-9B0DD81AC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TENNIS WOMEN</a:t>
            </a:r>
          </a:p>
          <a:p>
            <a:r>
              <a:rPr lang="en-US"/>
              <a:t>BASELINE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266E573-1798-428A-A392-3E1BB714B573}"/>
              </a:ext>
            </a:extLst>
          </p:cNvPr>
          <p:cNvGrpSpPr/>
          <p:nvPr/>
        </p:nvGrpSpPr>
        <p:grpSpPr>
          <a:xfrm>
            <a:off x="5767348" y="105604"/>
            <a:ext cx="6166360" cy="506458"/>
            <a:chOff x="5767348" y="34045"/>
            <a:chExt cx="6166360" cy="50645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CE8A563-BC19-4109-BF49-C6960E98A29F}"/>
                </a:ext>
              </a:extLst>
            </p:cNvPr>
            <p:cNvGrpSpPr/>
            <p:nvPr/>
          </p:nvGrpSpPr>
          <p:grpSpPr>
            <a:xfrm>
              <a:off x="5822551" y="298670"/>
              <a:ext cx="1962777" cy="180000"/>
              <a:chOff x="6058306" y="79991"/>
              <a:chExt cx="1962777" cy="180000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EF03F4B2-BDF0-4B26-B01B-B669B9A1671D}"/>
                  </a:ext>
                </a:extLst>
              </p:cNvPr>
              <p:cNvSpPr/>
              <p:nvPr/>
            </p:nvSpPr>
            <p:spPr>
              <a:xfrm>
                <a:off x="6058306" y="79991"/>
                <a:ext cx="188822" cy="180000"/>
              </a:xfrm>
              <a:prstGeom prst="ellipse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70BCF8E4-7A06-44AE-806D-C26352FE4B02}"/>
                  </a:ext>
                </a:extLst>
              </p:cNvPr>
              <p:cNvSpPr/>
              <p:nvPr/>
            </p:nvSpPr>
            <p:spPr>
              <a:xfrm>
                <a:off x="6162634" y="103206"/>
                <a:ext cx="1858449" cy="13357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HARD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D02E0FB-7B3F-42AF-BB21-A9C0779AE708}"/>
                </a:ext>
              </a:extLst>
            </p:cNvPr>
            <p:cNvGrpSpPr/>
            <p:nvPr/>
          </p:nvGrpSpPr>
          <p:grpSpPr>
            <a:xfrm>
              <a:off x="7874329" y="298670"/>
              <a:ext cx="1962777" cy="180000"/>
              <a:chOff x="6058306" y="298909"/>
              <a:chExt cx="1962777" cy="180000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38311CEA-89BB-4AFC-A4A0-B1666111C853}"/>
                  </a:ext>
                </a:extLst>
              </p:cNvPr>
              <p:cNvSpPr/>
              <p:nvPr/>
            </p:nvSpPr>
            <p:spPr>
              <a:xfrm>
                <a:off x="6058306" y="298909"/>
                <a:ext cx="188822" cy="180000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8A7B1D2-578D-473D-BB44-8DD89F789088}"/>
                  </a:ext>
                </a:extLst>
              </p:cNvPr>
              <p:cNvSpPr/>
              <p:nvPr/>
            </p:nvSpPr>
            <p:spPr>
              <a:xfrm>
                <a:off x="6162634" y="322124"/>
                <a:ext cx="1858449" cy="13357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CLAY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485C352-0409-492C-A1CD-857D6E0A8E17}"/>
                </a:ext>
              </a:extLst>
            </p:cNvPr>
            <p:cNvGrpSpPr/>
            <p:nvPr/>
          </p:nvGrpSpPr>
          <p:grpSpPr>
            <a:xfrm>
              <a:off x="9926107" y="298670"/>
              <a:ext cx="1962777" cy="180000"/>
              <a:chOff x="6058306" y="517828"/>
              <a:chExt cx="1962777" cy="180000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88ED472-B183-40E6-A083-B691AC7B4107}"/>
                  </a:ext>
                </a:extLst>
              </p:cNvPr>
              <p:cNvSpPr/>
              <p:nvPr/>
            </p:nvSpPr>
            <p:spPr>
              <a:xfrm>
                <a:off x="6058306" y="517828"/>
                <a:ext cx="188822" cy="180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BF3FE71-37FC-464C-A20F-20BC44FA4B84}"/>
                  </a:ext>
                </a:extLst>
              </p:cNvPr>
              <p:cNvSpPr/>
              <p:nvPr/>
            </p:nvSpPr>
            <p:spPr>
              <a:xfrm>
                <a:off x="6162634" y="541043"/>
                <a:ext cx="1858449" cy="13357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INDOOR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B2FE0C5-2479-4A8C-996A-1195521AF5DB}"/>
                </a:ext>
              </a:extLst>
            </p:cNvPr>
            <p:cNvSpPr/>
            <p:nvPr/>
          </p:nvSpPr>
          <p:spPr>
            <a:xfrm>
              <a:off x="5822552" y="34045"/>
              <a:ext cx="6066332" cy="21044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00">
                  <a:solidFill>
                    <a:schemeClr val="tx1"/>
                  </a:solidFill>
                  <a:latin typeface="ASICS Font 3.0" panose="00000500000000000000" pitchFamily="50" charset="0"/>
                  <a:cs typeface="Helvetica" panose="020B0604020202020204" pitchFamily="34" charset="0"/>
                </a:rPr>
                <a:t>OUTSOLE AVAILABILITY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FF068E-F3F9-427B-91D7-0CC2F0E86C9D}"/>
                </a:ext>
              </a:extLst>
            </p:cNvPr>
            <p:cNvSpPr/>
            <p:nvPr/>
          </p:nvSpPr>
          <p:spPr>
            <a:xfrm>
              <a:off x="5767348" y="39811"/>
              <a:ext cx="6166360" cy="50069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latin typeface="ASICS Font 3.0" panose="00000500000000000000" pitchFamily="50" charset="0"/>
              </a:endParaRP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173C3786-491E-3B65-8697-3774D21F035F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29B838-792A-4356-8513-23E2E128548F}"/>
              </a:ext>
            </a:extLst>
          </p:cNvPr>
          <p:cNvSpPr/>
          <p:nvPr/>
        </p:nvSpPr>
        <p:spPr>
          <a:xfrm>
            <a:off x="168679" y="76458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RESOLUTION X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CAE1D9-0FAC-426E-A03C-EBE24C174929}"/>
              </a:ext>
            </a:extLst>
          </p:cNvPr>
          <p:cNvSpPr/>
          <p:nvPr/>
        </p:nvSpPr>
        <p:spPr>
          <a:xfrm>
            <a:off x="180754" y="1066800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 - AO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2A279</a:t>
            </a:r>
          </a:p>
          <a:p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1071331-7BAA-4722-93E0-85AC6585C4E0}"/>
              </a:ext>
            </a:extLst>
          </p:cNvPr>
          <p:cNvSpPr/>
          <p:nvPr/>
        </p:nvSpPr>
        <p:spPr>
          <a:xfrm>
            <a:off x="3666361" y="782210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C6863-F6B1-4BB0-8E2B-0B95138F7169}"/>
              </a:ext>
            </a:extLst>
          </p:cNvPr>
          <p:cNvSpPr/>
          <p:nvPr/>
        </p:nvSpPr>
        <p:spPr>
          <a:xfrm>
            <a:off x="177478" y="4202792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DEDICATE 8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0C2F219-D088-45CF-94BA-2934A16E1539}"/>
              </a:ext>
            </a:extLst>
          </p:cNvPr>
          <p:cNvSpPr/>
          <p:nvPr/>
        </p:nvSpPr>
        <p:spPr>
          <a:xfrm>
            <a:off x="181868" y="4418842"/>
            <a:ext cx="1950307" cy="883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79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fr-FR" sz="800" dirty="0">
                <a:solidFill>
                  <a:schemeClr val="tx1"/>
                </a:solidFill>
                <a:latin typeface="ASICS Font 3.0"/>
                <a:cs typeface="Helvetica"/>
              </a:rPr>
              <a:t>1042A237</a:t>
            </a:r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9FC928F-92C8-411E-B9DC-064D8219CE7E}"/>
              </a:ext>
            </a:extLst>
          </p:cNvPr>
          <p:cNvSpPr/>
          <p:nvPr/>
        </p:nvSpPr>
        <p:spPr>
          <a:xfrm>
            <a:off x="170896" y="3085124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GEL-CHALLENGER 15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29B4290-0FC8-43EF-8A76-68911E70DA88}"/>
              </a:ext>
            </a:extLst>
          </p:cNvPr>
          <p:cNvSpPr/>
          <p:nvPr/>
        </p:nvSpPr>
        <p:spPr>
          <a:xfrm>
            <a:off x="182971" y="3311487"/>
            <a:ext cx="1950307" cy="891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3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fr-FR" sz="800" dirty="0">
                <a:solidFill>
                  <a:schemeClr val="tx1"/>
                </a:solidFill>
                <a:latin typeface="ASICS Font 3.0"/>
                <a:cs typeface="Helvetica"/>
              </a:rPr>
              <a:t>1042A294</a:t>
            </a:r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  <a:p>
            <a:r>
              <a:rPr lang="fr-FR" sz="800" dirty="0">
                <a:solidFill>
                  <a:schemeClr val="tx1"/>
                </a:solidFill>
                <a:latin typeface="ASICS Font 3.0"/>
                <a:cs typeface="Helvetica"/>
              </a:rPr>
              <a:t>1042A293  (CLAY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D0B9610-D7F2-4CEB-8387-AB41EA0B3A42}"/>
              </a:ext>
            </a:extLst>
          </p:cNvPr>
          <p:cNvSpPr/>
          <p:nvPr/>
        </p:nvSpPr>
        <p:spPr>
          <a:xfrm>
            <a:off x="2139860" y="4226151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702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390847-C638-429E-B1E0-31896A7BFB51}"/>
              </a:ext>
            </a:extLst>
          </p:cNvPr>
          <p:cNvSpPr/>
          <p:nvPr/>
        </p:nvSpPr>
        <p:spPr>
          <a:xfrm>
            <a:off x="2143194" y="3077262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700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53E0BED-8C87-4359-817E-89D059A22D44}"/>
              </a:ext>
            </a:extLst>
          </p:cNvPr>
          <p:cNvSpPr/>
          <p:nvPr/>
        </p:nvSpPr>
        <p:spPr>
          <a:xfrm>
            <a:off x="2136062" y="774804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4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EAB309E0-0564-DDA4-F2ED-993062584AA9}"/>
              </a:ext>
            </a:extLst>
          </p:cNvPr>
          <p:cNvSpPr/>
          <p:nvPr/>
        </p:nvSpPr>
        <p:spPr>
          <a:xfrm>
            <a:off x="3625326" y="3087447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94AE29C-3B1F-9A4C-7696-74ECDFF72E63}"/>
              </a:ext>
            </a:extLst>
          </p:cNvPr>
          <p:cNvSpPr/>
          <p:nvPr/>
        </p:nvSpPr>
        <p:spPr>
          <a:xfrm>
            <a:off x="3838478" y="3087447"/>
            <a:ext cx="180000" cy="18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F97E7B93-6C74-C6A6-CA05-358BF669A0CF}"/>
              </a:ext>
            </a:extLst>
          </p:cNvPr>
          <p:cNvSpPr/>
          <p:nvPr/>
        </p:nvSpPr>
        <p:spPr>
          <a:xfrm>
            <a:off x="3650227" y="4230986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A506E03-35CA-1E8E-B0C6-A0B02E042742}"/>
              </a:ext>
            </a:extLst>
          </p:cNvPr>
          <p:cNvSpPr/>
          <p:nvPr/>
        </p:nvSpPr>
        <p:spPr>
          <a:xfrm>
            <a:off x="6046701" y="805408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1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B751E99-972A-ADFA-25EE-178073CAAFAC}"/>
              </a:ext>
            </a:extLst>
          </p:cNvPr>
          <p:cNvSpPr/>
          <p:nvPr/>
        </p:nvSpPr>
        <p:spPr>
          <a:xfrm>
            <a:off x="4098330" y="787222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RESOLUTION X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B6FA5B5-49ED-BC68-D2E5-4EB67CA468F1}"/>
              </a:ext>
            </a:extLst>
          </p:cNvPr>
          <p:cNvSpPr/>
          <p:nvPr/>
        </p:nvSpPr>
        <p:spPr>
          <a:xfrm>
            <a:off x="4110405" y="1071851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APR - RG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2A277 (CLAY)</a:t>
            </a: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215DCA33-5431-135E-74BA-BD69C513B3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4564" y="1022590"/>
            <a:ext cx="1579688" cy="779971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30C6DDCD-3606-6112-39F3-08782EA986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59140" y="1065721"/>
            <a:ext cx="1543064" cy="779971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6EE8F799-7ABB-A76A-209C-800A51952C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5708" y="3308500"/>
            <a:ext cx="1606154" cy="772962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BF8DA56D-0A54-A266-1F59-948CC206AC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35523" y="4429844"/>
            <a:ext cx="1583394" cy="773142"/>
          </a:xfrm>
          <a:prstGeom prst="rect">
            <a:avLst/>
          </a:prstGeom>
        </p:spPr>
      </p:pic>
      <p:sp>
        <p:nvSpPr>
          <p:cNvPr id="114" name="Oval 113">
            <a:extLst>
              <a:ext uri="{FF2B5EF4-FFF2-40B4-BE49-F238E27FC236}">
                <a16:creationId xmlns:a16="http://schemas.microsoft.com/office/drawing/2014/main" id="{9DE553DC-4963-E20E-248E-85E7C11288CA}"/>
              </a:ext>
            </a:extLst>
          </p:cNvPr>
          <p:cNvSpPr/>
          <p:nvPr/>
        </p:nvSpPr>
        <p:spPr>
          <a:xfrm>
            <a:off x="7739363" y="810695"/>
            <a:ext cx="180000" cy="18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11" name="AutoShape 2">
            <a:extLst>
              <a:ext uri="{FF2B5EF4-FFF2-40B4-BE49-F238E27FC236}">
                <a16:creationId xmlns:a16="http://schemas.microsoft.com/office/drawing/2014/main" id="{F11C472F-FE8A-EFB1-3420-13B0CFC3620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572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TENNIS WOMEN</a:t>
            </a:r>
          </a:p>
          <a:p>
            <a:r>
              <a:rPr lang="en-US"/>
              <a:t>ALL-COURT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266E573-1798-428A-A392-3E1BB714B573}"/>
              </a:ext>
            </a:extLst>
          </p:cNvPr>
          <p:cNvGrpSpPr/>
          <p:nvPr/>
        </p:nvGrpSpPr>
        <p:grpSpPr>
          <a:xfrm>
            <a:off x="5767348" y="105604"/>
            <a:ext cx="6166360" cy="506458"/>
            <a:chOff x="5767348" y="34045"/>
            <a:chExt cx="6166360" cy="50645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CE8A563-BC19-4109-BF49-C6960E98A29F}"/>
                </a:ext>
              </a:extLst>
            </p:cNvPr>
            <p:cNvGrpSpPr/>
            <p:nvPr/>
          </p:nvGrpSpPr>
          <p:grpSpPr>
            <a:xfrm>
              <a:off x="5822551" y="298670"/>
              <a:ext cx="1962777" cy="180000"/>
              <a:chOff x="6058306" y="79991"/>
              <a:chExt cx="1962777" cy="180000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EF03F4B2-BDF0-4B26-B01B-B669B9A1671D}"/>
                  </a:ext>
                </a:extLst>
              </p:cNvPr>
              <p:cNvSpPr/>
              <p:nvPr/>
            </p:nvSpPr>
            <p:spPr>
              <a:xfrm>
                <a:off x="6058306" y="79991"/>
                <a:ext cx="188822" cy="180000"/>
              </a:xfrm>
              <a:prstGeom prst="ellipse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70BCF8E4-7A06-44AE-806D-C26352FE4B02}"/>
                  </a:ext>
                </a:extLst>
              </p:cNvPr>
              <p:cNvSpPr/>
              <p:nvPr/>
            </p:nvSpPr>
            <p:spPr>
              <a:xfrm>
                <a:off x="6162634" y="103206"/>
                <a:ext cx="1858449" cy="13357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HARD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D02E0FB-7B3F-42AF-BB21-A9C0779AE708}"/>
                </a:ext>
              </a:extLst>
            </p:cNvPr>
            <p:cNvGrpSpPr/>
            <p:nvPr/>
          </p:nvGrpSpPr>
          <p:grpSpPr>
            <a:xfrm>
              <a:off x="7874329" y="298670"/>
              <a:ext cx="1962777" cy="180000"/>
              <a:chOff x="6058306" y="298909"/>
              <a:chExt cx="1962777" cy="180000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38311CEA-89BB-4AFC-A4A0-B1666111C853}"/>
                  </a:ext>
                </a:extLst>
              </p:cNvPr>
              <p:cNvSpPr/>
              <p:nvPr/>
            </p:nvSpPr>
            <p:spPr>
              <a:xfrm>
                <a:off x="6058306" y="298909"/>
                <a:ext cx="188822" cy="180000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8A7B1D2-578D-473D-BB44-8DD89F789088}"/>
                  </a:ext>
                </a:extLst>
              </p:cNvPr>
              <p:cNvSpPr/>
              <p:nvPr/>
            </p:nvSpPr>
            <p:spPr>
              <a:xfrm>
                <a:off x="6162634" y="322124"/>
                <a:ext cx="1858449" cy="13357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CLAY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485C352-0409-492C-A1CD-857D6E0A8E17}"/>
                </a:ext>
              </a:extLst>
            </p:cNvPr>
            <p:cNvGrpSpPr/>
            <p:nvPr/>
          </p:nvGrpSpPr>
          <p:grpSpPr>
            <a:xfrm>
              <a:off x="9926107" y="298670"/>
              <a:ext cx="1962777" cy="180000"/>
              <a:chOff x="6058306" y="517828"/>
              <a:chExt cx="1962777" cy="180000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88ED472-B183-40E6-A083-B691AC7B4107}"/>
                  </a:ext>
                </a:extLst>
              </p:cNvPr>
              <p:cNvSpPr/>
              <p:nvPr/>
            </p:nvSpPr>
            <p:spPr>
              <a:xfrm>
                <a:off x="6058306" y="517828"/>
                <a:ext cx="188822" cy="180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BF3FE71-37FC-464C-A20F-20BC44FA4B84}"/>
                  </a:ext>
                </a:extLst>
              </p:cNvPr>
              <p:cNvSpPr/>
              <p:nvPr/>
            </p:nvSpPr>
            <p:spPr>
              <a:xfrm>
                <a:off x="6162634" y="541043"/>
                <a:ext cx="1858449" cy="13357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INDOOR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B2FE0C5-2479-4A8C-996A-1195521AF5DB}"/>
                </a:ext>
              </a:extLst>
            </p:cNvPr>
            <p:cNvSpPr/>
            <p:nvPr/>
          </p:nvSpPr>
          <p:spPr>
            <a:xfrm>
              <a:off x="5822552" y="34045"/>
              <a:ext cx="6066332" cy="21044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00">
                  <a:solidFill>
                    <a:schemeClr val="tx1"/>
                  </a:solidFill>
                  <a:latin typeface="ASICS Font 3.0" panose="00000500000000000000" pitchFamily="50" charset="0"/>
                  <a:cs typeface="Helvetica" panose="020B0604020202020204" pitchFamily="34" charset="0"/>
                </a:rPr>
                <a:t>OUTSOLE AVAILABILITY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FF068E-F3F9-427B-91D7-0CC2F0E86C9D}"/>
                </a:ext>
              </a:extLst>
            </p:cNvPr>
            <p:cNvSpPr/>
            <p:nvPr/>
          </p:nvSpPr>
          <p:spPr>
            <a:xfrm>
              <a:off x="5767348" y="39811"/>
              <a:ext cx="6166360" cy="50069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latin typeface="ASICS Font 3.0" panose="00000500000000000000" pitchFamily="50" charset="0"/>
              </a:endParaRPr>
            </a:p>
          </p:txBody>
        </p:sp>
      </p:grpSp>
      <p:sp>
        <p:nvSpPr>
          <p:cNvPr id="11" name="ZoneTexte 10">
            <a:extLst>
              <a:ext uri="{FF2B5EF4-FFF2-40B4-BE49-F238E27FC236}">
                <a16:creationId xmlns:a16="http://schemas.microsoft.com/office/drawing/2014/main" id="{B7703F9F-8579-98C2-510C-2B6CAE3BA40B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29B838-792A-4356-8513-23E2E128548F}"/>
              </a:ext>
            </a:extLst>
          </p:cNvPr>
          <p:cNvSpPr/>
          <p:nvPr/>
        </p:nvSpPr>
        <p:spPr>
          <a:xfrm>
            <a:off x="168679" y="76458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SOLUTION SPEED FF 4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CAE1D9-0FAC-426E-A03C-EBE24C174929}"/>
              </a:ext>
            </a:extLst>
          </p:cNvPr>
          <p:cNvSpPr/>
          <p:nvPr/>
        </p:nvSpPr>
        <p:spPr>
          <a:xfrm>
            <a:off x="180754" y="946600"/>
            <a:ext cx="1950307" cy="1005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NEW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JAN - AO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2A307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D55B9F5-1E43-4C63-8F3F-C721908EF68B}"/>
              </a:ext>
            </a:extLst>
          </p:cNvPr>
          <p:cNvSpPr/>
          <p:nvPr/>
        </p:nvSpPr>
        <p:spPr>
          <a:xfrm>
            <a:off x="156604" y="5350532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COURT SLIDE 4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757823C-702C-4896-B9E9-744F4E9C3B39}"/>
              </a:ext>
            </a:extLst>
          </p:cNvPr>
          <p:cNvSpPr/>
          <p:nvPr/>
        </p:nvSpPr>
        <p:spPr>
          <a:xfrm>
            <a:off x="168679" y="5652745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6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BRONZE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2A28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D5301E1-C790-4E42-B697-CC7609FAFDFB}"/>
              </a:ext>
            </a:extLst>
          </p:cNvPr>
          <p:cNvSpPr/>
          <p:nvPr/>
        </p:nvSpPr>
        <p:spPr>
          <a:xfrm>
            <a:off x="179636" y="3031078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SOLUTION SWIFT FF 2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961C72-5E60-424A-8CB3-20DEC025AEE0}"/>
              </a:ext>
            </a:extLst>
          </p:cNvPr>
          <p:cNvSpPr/>
          <p:nvPr/>
        </p:nvSpPr>
        <p:spPr>
          <a:xfrm>
            <a:off x="191711" y="3333291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30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2A265</a:t>
            </a:r>
          </a:p>
          <a:p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4796E78-F3CE-4F2B-B585-30D17076BC08}"/>
              </a:ext>
            </a:extLst>
          </p:cNvPr>
          <p:cNvSpPr/>
          <p:nvPr/>
        </p:nvSpPr>
        <p:spPr>
          <a:xfrm>
            <a:off x="3658483" y="800513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245B8B86-B372-4D87-8768-C7D6CF5DAE12}"/>
              </a:ext>
            </a:extLst>
          </p:cNvPr>
          <p:cNvSpPr/>
          <p:nvPr/>
        </p:nvSpPr>
        <p:spPr>
          <a:xfrm>
            <a:off x="3676612" y="3088452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00927BE-D42B-4EBB-A957-9A0050FF5FBD}"/>
              </a:ext>
            </a:extLst>
          </p:cNvPr>
          <p:cNvSpPr/>
          <p:nvPr/>
        </p:nvSpPr>
        <p:spPr>
          <a:xfrm>
            <a:off x="2131061" y="5355274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2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E90710-0597-4948-A7CA-C939674A0011}"/>
              </a:ext>
            </a:extLst>
          </p:cNvPr>
          <p:cNvSpPr/>
          <p:nvPr/>
        </p:nvSpPr>
        <p:spPr>
          <a:xfrm>
            <a:off x="2128184" y="793107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0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192AE9C-B4F7-4360-A394-4525263368FB}"/>
              </a:ext>
            </a:extLst>
          </p:cNvPr>
          <p:cNvSpPr/>
          <p:nvPr/>
        </p:nvSpPr>
        <p:spPr>
          <a:xfrm>
            <a:off x="2143657" y="3037633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702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5C96C96-5882-9D76-11C1-A8A32266F950}"/>
              </a:ext>
            </a:extLst>
          </p:cNvPr>
          <p:cNvSpPr/>
          <p:nvPr/>
        </p:nvSpPr>
        <p:spPr>
          <a:xfrm>
            <a:off x="3874301" y="5409449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6303E9F4-7158-4C4D-121A-E2BDB9D1DEB9}"/>
              </a:ext>
            </a:extLst>
          </p:cNvPr>
          <p:cNvSpPr/>
          <p:nvPr/>
        </p:nvSpPr>
        <p:spPr>
          <a:xfrm>
            <a:off x="7592308" y="790988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7242244-D03E-A831-2625-E09D80D181B6}"/>
              </a:ext>
            </a:extLst>
          </p:cNvPr>
          <p:cNvSpPr/>
          <p:nvPr/>
        </p:nvSpPr>
        <p:spPr>
          <a:xfrm>
            <a:off x="6062009" y="783582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400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09E68A8-128C-13D8-BF03-60B74E280B6E}"/>
              </a:ext>
            </a:extLst>
          </p:cNvPr>
          <p:cNvSpPr/>
          <p:nvPr/>
        </p:nvSpPr>
        <p:spPr>
          <a:xfrm>
            <a:off x="4102504" y="726487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3FC7A0E-ECDB-894F-653F-64AB1F265784}"/>
              </a:ext>
            </a:extLst>
          </p:cNvPr>
          <p:cNvSpPr/>
          <p:nvPr/>
        </p:nvSpPr>
        <p:spPr>
          <a:xfrm>
            <a:off x="4095455" y="759548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/>
              </a:rPr>
              <a:t>SOLUTION SPEED FF 4 </a:t>
            </a:r>
            <a:endParaRPr lang="en-US" sz="7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84D51EB-5569-19A9-1F86-C13847611866}"/>
              </a:ext>
            </a:extLst>
          </p:cNvPr>
          <p:cNvSpPr/>
          <p:nvPr/>
        </p:nvSpPr>
        <p:spPr>
          <a:xfrm>
            <a:off x="4172182" y="595836"/>
            <a:ext cx="1926117" cy="304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endParaRPr lang="en-GB" sz="800">
              <a:solidFill>
                <a:schemeClr val="tx1"/>
              </a:solidFill>
              <a:latin typeface="ASICS Font 3.0"/>
              <a:cs typeface="Helvetica"/>
            </a:endParaRPr>
          </a:p>
          <a:p>
            <a:br>
              <a:rPr lang="en-GB" sz="80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02378487-10EE-F199-3043-E2FA07EDC556}"/>
              </a:ext>
            </a:extLst>
          </p:cNvPr>
          <p:cNvSpPr/>
          <p:nvPr/>
        </p:nvSpPr>
        <p:spPr>
          <a:xfrm>
            <a:off x="4123801" y="946599"/>
            <a:ext cx="1950307" cy="1005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NEW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160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APR - RG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GOLD</a:t>
            </a:r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2A307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endParaRPr lang="en-GB" sz="800" dirty="0">
              <a:solidFill>
                <a:schemeClr val="tx1"/>
              </a:solidFill>
              <a:latin typeface="ASICS Font 3.0"/>
              <a:cs typeface="Helvetica"/>
            </a:endParaRPr>
          </a:p>
          <a:p>
            <a:br>
              <a:rPr lang="en-GB" sz="800" dirty="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883F3235-629C-E9E5-AADD-399C3EB08A90}"/>
              </a:ext>
            </a:extLst>
          </p:cNvPr>
          <p:cNvSpPr/>
          <p:nvPr/>
        </p:nvSpPr>
        <p:spPr>
          <a:xfrm>
            <a:off x="4091012" y="3011322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L" sz="1000" b="1" dirty="0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FF331A87-84C2-E853-AC94-34116AC04C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78139" y="1067878"/>
            <a:ext cx="1666755" cy="822960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A743BC89-D759-CDF4-4BEC-72071280CF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6652" y="1067878"/>
            <a:ext cx="1608228" cy="822960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7B6B2B66-CFE2-E0BF-FCC0-BD288034F2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95232" y="3331216"/>
            <a:ext cx="1721223" cy="822960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21767D26-9741-AA3D-1A5F-478DF1C8AC0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96386" y="5549121"/>
            <a:ext cx="1669392" cy="822960"/>
          </a:xfrm>
          <a:prstGeom prst="rect">
            <a:avLst/>
          </a:prstGeom>
        </p:spPr>
      </p:pic>
      <p:sp>
        <p:nvSpPr>
          <p:cNvPr id="126" name="Rectangle 125">
            <a:extLst>
              <a:ext uri="{FF2B5EF4-FFF2-40B4-BE49-F238E27FC236}">
                <a16:creationId xmlns:a16="http://schemas.microsoft.com/office/drawing/2014/main" id="{52E740D4-F333-70B7-FC49-9E6B765B0101}"/>
              </a:ext>
            </a:extLst>
          </p:cNvPr>
          <p:cNvSpPr/>
          <p:nvPr/>
        </p:nvSpPr>
        <p:spPr>
          <a:xfrm>
            <a:off x="4109626" y="1894412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>
              <a:solidFill>
                <a:schemeClr val="tx1"/>
              </a:solidFill>
              <a:latin typeface="ASICS Font 3.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1BC42E2-0038-4E35-507F-896752D7DDA3}"/>
              </a:ext>
            </a:extLst>
          </p:cNvPr>
          <p:cNvSpPr/>
          <p:nvPr/>
        </p:nvSpPr>
        <p:spPr>
          <a:xfrm>
            <a:off x="4179304" y="1763761"/>
            <a:ext cx="1926117" cy="304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endParaRPr lang="en-GB" sz="800">
              <a:solidFill>
                <a:schemeClr val="tx1"/>
              </a:solidFill>
              <a:latin typeface="ASICS Font 3.0"/>
              <a:cs typeface="Helvetica"/>
            </a:endParaRPr>
          </a:p>
          <a:p>
            <a:br>
              <a:rPr lang="en-GB" sz="800">
                <a:latin typeface="ASICS Font 3.0" panose="00000500000000000000" pitchFamily="50" charset="0"/>
                <a:cs typeface="Helvetica" panose="020B0604020202020204" pitchFamily="34" charset="0"/>
              </a:rPr>
            </a:br>
            <a:endParaRPr lang="en-GB" sz="8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951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2">
            <a:extLst>
              <a:ext uri="{FF2B5EF4-FFF2-40B4-BE49-F238E27FC236}">
                <a16:creationId xmlns:a16="http://schemas.microsoft.com/office/drawing/2014/main" id="{8D9BEE49-4687-4A81-A972-21AD9C5EA9CA}"/>
              </a:ext>
            </a:extLst>
          </p:cNvPr>
          <p:cNvSpPr txBox="1"/>
          <p:nvPr/>
        </p:nvSpPr>
        <p:spPr>
          <a:xfrm>
            <a:off x="838199" y="57150"/>
            <a:ext cx="3927953" cy="37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1715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SICS Font 3.0" panose="00000500000000000000" pitchFamily="50" charset="0"/>
              </a:defRPr>
            </a:lvl1pPr>
          </a:lstStyle>
          <a:p>
            <a:r>
              <a:rPr lang="en-US"/>
              <a:t>TENNIS KIDS</a:t>
            </a:r>
          </a:p>
          <a:p>
            <a:endParaRPr lang="en-NL"/>
          </a:p>
        </p:txBody>
      </p:sp>
      <p:sp>
        <p:nvSpPr>
          <p:cNvPr id="3" name="Shape 153">
            <a:extLst>
              <a:ext uri="{FF2B5EF4-FFF2-40B4-BE49-F238E27FC236}">
                <a16:creationId xmlns:a16="http://schemas.microsoft.com/office/drawing/2014/main" id="{A5C93B73-E9CE-44B0-A142-9C6E62D29420}"/>
              </a:ext>
            </a:extLst>
          </p:cNvPr>
          <p:cNvSpPr/>
          <p:nvPr/>
        </p:nvSpPr>
        <p:spPr>
          <a:xfrm>
            <a:off x="256003" y="107032"/>
            <a:ext cx="360431" cy="3696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50" y="85105"/>
                </a:moveTo>
                <a:cubicBezTo>
                  <a:pt x="31231" y="85105"/>
                  <a:pt x="27855" y="79840"/>
                  <a:pt x="29614" y="73748"/>
                </a:cubicBezTo>
                <a:cubicBezTo>
                  <a:pt x="33255" y="61130"/>
                  <a:pt x="56638" y="42426"/>
                  <a:pt x="72569" y="42426"/>
                </a:cubicBezTo>
                <a:cubicBezTo>
                  <a:pt x="84199" y="42426"/>
                  <a:pt x="83309" y="52563"/>
                  <a:pt x="76500" y="61213"/>
                </a:cubicBezTo>
                <a:lnTo>
                  <a:pt x="72733" y="65273"/>
                </a:lnTo>
                <a:cubicBezTo>
                  <a:pt x="59229" y="78200"/>
                  <a:pt x="46704" y="85105"/>
                  <a:pt x="38250" y="85105"/>
                </a:cubicBezTo>
                <a:moveTo>
                  <a:pt x="95208" y="0"/>
                </a:moveTo>
                <a:cubicBezTo>
                  <a:pt x="74871" y="7"/>
                  <a:pt x="52470" y="12139"/>
                  <a:pt x="38411" y="23626"/>
                </a:cubicBezTo>
                <a:lnTo>
                  <a:pt x="39522" y="25192"/>
                </a:lnTo>
                <a:cubicBezTo>
                  <a:pt x="61346" y="10275"/>
                  <a:pt x="91640" y="573"/>
                  <a:pt x="99994" y="15123"/>
                </a:cubicBezTo>
                <a:cubicBezTo>
                  <a:pt x="104404" y="22805"/>
                  <a:pt x="96915" y="38307"/>
                  <a:pt x="86375" y="50564"/>
                </a:cubicBezTo>
                <a:cubicBezTo>
                  <a:pt x="88901" y="45151"/>
                  <a:pt x="87237" y="34761"/>
                  <a:pt x="72540" y="34761"/>
                </a:cubicBezTo>
                <a:cubicBezTo>
                  <a:pt x="48096" y="34761"/>
                  <a:pt x="0" y="66324"/>
                  <a:pt x="0" y="98617"/>
                </a:cubicBezTo>
                <a:cubicBezTo>
                  <a:pt x="0" y="111558"/>
                  <a:pt x="9200" y="120000"/>
                  <a:pt x="24361" y="120000"/>
                </a:cubicBezTo>
                <a:cubicBezTo>
                  <a:pt x="64949" y="120000"/>
                  <a:pt x="120000" y="55132"/>
                  <a:pt x="120000" y="22550"/>
                </a:cubicBezTo>
                <a:cubicBezTo>
                  <a:pt x="119996" y="11044"/>
                  <a:pt x="113205" y="0"/>
                  <a:pt x="95208" y="0"/>
                </a:cubicBezTo>
              </a:path>
            </a:pathLst>
          </a:custGeom>
          <a:solidFill>
            <a:schemeClr val="tx1"/>
          </a:solidFill>
          <a:ln w="12700" cap="flat" cmpd="sng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59" tIns="17150" rIns="34259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ICS Font 3.0" panose="00000500000000000000" pitchFamily="50" charset="0"/>
              <a:ea typeface="Calibri"/>
              <a:cs typeface="Calibri"/>
              <a:sym typeface="Calibri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266E573-1798-428A-A392-3E1BB714B573}"/>
              </a:ext>
            </a:extLst>
          </p:cNvPr>
          <p:cNvGrpSpPr/>
          <p:nvPr/>
        </p:nvGrpSpPr>
        <p:grpSpPr>
          <a:xfrm>
            <a:off x="5767348" y="105604"/>
            <a:ext cx="6166360" cy="506458"/>
            <a:chOff x="5767348" y="34045"/>
            <a:chExt cx="6166360" cy="50645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CE8A563-BC19-4109-BF49-C6960E98A29F}"/>
                </a:ext>
              </a:extLst>
            </p:cNvPr>
            <p:cNvGrpSpPr/>
            <p:nvPr/>
          </p:nvGrpSpPr>
          <p:grpSpPr>
            <a:xfrm>
              <a:off x="5822551" y="298670"/>
              <a:ext cx="1962777" cy="180000"/>
              <a:chOff x="6058306" y="79991"/>
              <a:chExt cx="1962777" cy="180000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EF03F4B2-BDF0-4B26-B01B-B669B9A1671D}"/>
                  </a:ext>
                </a:extLst>
              </p:cNvPr>
              <p:cNvSpPr/>
              <p:nvPr/>
            </p:nvSpPr>
            <p:spPr>
              <a:xfrm>
                <a:off x="6058306" y="79991"/>
                <a:ext cx="188822" cy="180000"/>
              </a:xfrm>
              <a:prstGeom prst="ellipse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70BCF8E4-7A06-44AE-806D-C26352FE4B02}"/>
                  </a:ext>
                </a:extLst>
              </p:cNvPr>
              <p:cNvSpPr/>
              <p:nvPr/>
            </p:nvSpPr>
            <p:spPr>
              <a:xfrm>
                <a:off x="6162634" y="103206"/>
                <a:ext cx="1858449" cy="13357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HARD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D02E0FB-7B3F-42AF-BB21-A9C0779AE708}"/>
                </a:ext>
              </a:extLst>
            </p:cNvPr>
            <p:cNvGrpSpPr/>
            <p:nvPr/>
          </p:nvGrpSpPr>
          <p:grpSpPr>
            <a:xfrm>
              <a:off x="7874329" y="298670"/>
              <a:ext cx="1962777" cy="180000"/>
              <a:chOff x="6058306" y="298909"/>
              <a:chExt cx="1962777" cy="180000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38311CEA-89BB-4AFC-A4A0-B1666111C853}"/>
                  </a:ext>
                </a:extLst>
              </p:cNvPr>
              <p:cNvSpPr/>
              <p:nvPr/>
            </p:nvSpPr>
            <p:spPr>
              <a:xfrm>
                <a:off x="6058306" y="298909"/>
                <a:ext cx="188822" cy="180000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8A7B1D2-578D-473D-BB44-8DD89F789088}"/>
                  </a:ext>
                </a:extLst>
              </p:cNvPr>
              <p:cNvSpPr/>
              <p:nvPr/>
            </p:nvSpPr>
            <p:spPr>
              <a:xfrm>
                <a:off x="6162634" y="322124"/>
                <a:ext cx="1858449" cy="13357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CLAY COURT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485C352-0409-492C-A1CD-857D6E0A8E17}"/>
                </a:ext>
              </a:extLst>
            </p:cNvPr>
            <p:cNvGrpSpPr/>
            <p:nvPr/>
          </p:nvGrpSpPr>
          <p:grpSpPr>
            <a:xfrm>
              <a:off x="9926107" y="298670"/>
              <a:ext cx="1962777" cy="180000"/>
              <a:chOff x="6058306" y="517828"/>
              <a:chExt cx="1962777" cy="180000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88ED472-B183-40E6-A083-B691AC7B4107}"/>
                  </a:ext>
                </a:extLst>
              </p:cNvPr>
              <p:cNvSpPr/>
              <p:nvPr/>
            </p:nvSpPr>
            <p:spPr>
              <a:xfrm>
                <a:off x="6058306" y="517828"/>
                <a:ext cx="188822" cy="180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>
                  <a:latin typeface="ASICS Font 3.0" panose="00000500000000000000" pitchFamily="50" charset="0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BF3FE71-37FC-464C-A20F-20BC44FA4B84}"/>
                  </a:ext>
                </a:extLst>
              </p:cNvPr>
              <p:cNvSpPr/>
              <p:nvPr/>
            </p:nvSpPr>
            <p:spPr>
              <a:xfrm>
                <a:off x="6162634" y="541043"/>
                <a:ext cx="1858449" cy="13357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latin typeface="ASICS Font 3.0" panose="00000500000000000000" pitchFamily="50" charset="0"/>
                  </a:rPr>
                  <a:t>INDOOR</a:t>
                </a:r>
                <a:endParaRPr lang="en-NL" sz="1000">
                  <a:solidFill>
                    <a:schemeClr val="tx1"/>
                  </a:solidFill>
                  <a:latin typeface="ASICS Font 3.0" panose="00000500000000000000" pitchFamily="50" charset="0"/>
                </a:endParaRPr>
              </a:p>
            </p:txBody>
          </p:sp>
        </p:grp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B2FE0C5-2479-4A8C-996A-1195521AF5DB}"/>
                </a:ext>
              </a:extLst>
            </p:cNvPr>
            <p:cNvSpPr/>
            <p:nvPr/>
          </p:nvSpPr>
          <p:spPr>
            <a:xfrm>
              <a:off x="5822552" y="34045"/>
              <a:ext cx="6066332" cy="21044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00">
                  <a:solidFill>
                    <a:schemeClr val="tx1"/>
                  </a:solidFill>
                  <a:latin typeface="ASICS Font 3.0" panose="00000500000000000000" pitchFamily="50" charset="0"/>
                  <a:cs typeface="Helvetica" panose="020B0604020202020204" pitchFamily="34" charset="0"/>
                </a:rPr>
                <a:t>OUTSOLE AVAILABILITY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FF068E-F3F9-427B-91D7-0CC2F0E86C9D}"/>
                </a:ext>
              </a:extLst>
            </p:cNvPr>
            <p:cNvSpPr/>
            <p:nvPr/>
          </p:nvSpPr>
          <p:spPr>
            <a:xfrm>
              <a:off x="5767348" y="39811"/>
              <a:ext cx="6166360" cy="50069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latin typeface="ASICS Font 3.0" panose="00000500000000000000" pitchFamily="50" charset="0"/>
              </a:endParaRP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8FAB580F-3267-363D-907D-87360288AD75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025DB56-533A-44D9-A02A-BA1725934CF9}"/>
              </a:ext>
            </a:extLst>
          </p:cNvPr>
          <p:cNvSpPr/>
          <p:nvPr/>
        </p:nvSpPr>
        <p:spPr>
          <a:xfrm>
            <a:off x="168679" y="3071800"/>
            <a:ext cx="1955800" cy="300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tx1"/>
                </a:solidFill>
                <a:latin typeface="ASICS Font 3.0" panose="00000500000000000000" pitchFamily="50" charset="0"/>
              </a:rPr>
              <a:t>GEL-DEDICATE 8 GS</a:t>
            </a:r>
            <a:endParaRPr lang="en-NL" sz="1000" b="1">
              <a:solidFill>
                <a:schemeClr val="tx1"/>
              </a:solidFill>
              <a:latin typeface="ASICS Font 3.0" panose="00000500000000000000" pitchFamily="50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8C0279C-56FB-4490-B9D1-CC5E65514B0C}"/>
              </a:ext>
            </a:extLst>
          </p:cNvPr>
          <p:cNvSpPr/>
          <p:nvPr/>
        </p:nvSpPr>
        <p:spPr>
          <a:xfrm>
            <a:off x="180754" y="3374013"/>
            <a:ext cx="1950307" cy="836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CUD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€65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DEC ‘25</a:t>
            </a:r>
            <a:endParaRPr lang="en-GB" sz="800" dirty="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SILVER</a:t>
            </a:r>
          </a:p>
          <a:p>
            <a:r>
              <a:rPr lang="en-GB" sz="800" dirty="0">
                <a:solidFill>
                  <a:schemeClr val="tx1"/>
                </a:solidFill>
                <a:latin typeface="ASICS Font 3.0"/>
                <a:cs typeface="Helvetica"/>
              </a:rPr>
              <a:t>1044A077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F6B9D22-CC13-4605-BBAC-0749EE736C50}"/>
              </a:ext>
            </a:extLst>
          </p:cNvPr>
          <p:cNvSpPr/>
          <p:nvPr/>
        </p:nvSpPr>
        <p:spPr>
          <a:xfrm>
            <a:off x="2134395" y="3070043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108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E42B885-F6F3-4A86-9C15-F648C091D3CD}"/>
              </a:ext>
            </a:extLst>
          </p:cNvPr>
          <p:cNvSpPr/>
          <p:nvPr/>
        </p:nvSpPr>
        <p:spPr>
          <a:xfrm>
            <a:off x="4122947" y="3061511"/>
            <a:ext cx="1162624" cy="21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>
                <a:solidFill>
                  <a:schemeClr val="tx1"/>
                </a:solidFill>
                <a:latin typeface="ASICS Font 3.0"/>
                <a:cs typeface="Helvetica"/>
              </a:rPr>
              <a:t>702</a:t>
            </a:r>
            <a:endParaRPr lang="en-GB" sz="1000">
              <a:solidFill>
                <a:schemeClr val="tx1"/>
              </a:solidFill>
              <a:latin typeface="ASICS Font 3.0" panose="00000500000000000000" pitchFamily="50" charset="0"/>
              <a:cs typeface="Helvetica" panose="020B060402020202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C241F5DD-C7FF-A9CF-C474-6C035146A7D2}"/>
              </a:ext>
            </a:extLst>
          </p:cNvPr>
          <p:cNvSpPr/>
          <p:nvPr/>
        </p:nvSpPr>
        <p:spPr>
          <a:xfrm>
            <a:off x="3874301" y="3103729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BC42F47-4508-C32E-08A4-6D9C4D405257}"/>
              </a:ext>
            </a:extLst>
          </p:cNvPr>
          <p:cNvSpPr/>
          <p:nvPr/>
        </p:nvSpPr>
        <p:spPr>
          <a:xfrm>
            <a:off x="5836879" y="3103729"/>
            <a:ext cx="180000" cy="18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>
              <a:latin typeface="ASICS Font 3.0" panose="00000500000000000000" pitchFamily="50" charset="0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6ED92A10-17D5-A49C-9AF6-86070AAD39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75483" y="3277319"/>
            <a:ext cx="1633158" cy="82296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F8E74D2-84F9-CFEF-456C-4BF26C7489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77811" y="3267705"/>
            <a:ext cx="169083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3475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Image result for asics logo transparent&quot;">
            <a:extLst>
              <a:ext uri="{FF2B5EF4-FFF2-40B4-BE49-F238E27FC236}">
                <a16:creationId xmlns:a16="http://schemas.microsoft.com/office/drawing/2014/main" id="{D4C05DD6-02C0-469B-B565-F43EC0D964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50" t="23167" r="30625" b="23167"/>
          <a:stretch/>
        </p:blipFill>
        <p:spPr bwMode="auto">
          <a:xfrm>
            <a:off x="2642478" y="2038350"/>
            <a:ext cx="2230270" cy="232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EC86231-5D28-4C94-82D4-31B10DA02E31}"/>
              </a:ext>
            </a:extLst>
          </p:cNvPr>
          <p:cNvCxnSpPr>
            <a:cxnSpLocks/>
          </p:cNvCxnSpPr>
          <p:nvPr/>
        </p:nvCxnSpPr>
        <p:spPr>
          <a:xfrm>
            <a:off x="5048250" y="2028825"/>
            <a:ext cx="0" cy="2238375"/>
          </a:xfrm>
          <a:prstGeom prst="line">
            <a:avLst/>
          </a:prstGeom>
          <a:ln w="38100">
            <a:solidFill>
              <a:srgbClr val="0B22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B0BF995A-4034-4E7E-8AEB-62062937753E}"/>
              </a:ext>
            </a:extLst>
          </p:cNvPr>
          <p:cNvSpPr txBox="1"/>
          <p:nvPr/>
        </p:nvSpPr>
        <p:spPr>
          <a:xfrm>
            <a:off x="5133975" y="2020431"/>
            <a:ext cx="1545616" cy="707886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en-US"/>
            </a:defPPr>
            <a:lvl1pPr>
              <a:defRPr sz="4000">
                <a:solidFill>
                  <a:srgbClr val="0B2265"/>
                </a:solidFill>
                <a:latin typeface="ASICS Font 3.0" panose="00000500000000000000" pitchFamily="50" charset="0"/>
              </a:defRPr>
            </a:lvl1pPr>
          </a:lstStyle>
          <a:p>
            <a:r>
              <a:rPr lang="en-US"/>
              <a:t>PADEL</a:t>
            </a:r>
            <a:endParaRPr lang="en-NL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BCBB61E-B5E7-E52D-3B49-A730B16073B6}"/>
              </a:ext>
            </a:extLst>
          </p:cNvPr>
          <p:cNvSpPr txBox="1"/>
          <p:nvPr/>
        </p:nvSpPr>
        <p:spPr>
          <a:xfrm>
            <a:off x="5574019" y="6519446"/>
            <a:ext cx="221130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i="1"/>
              <a:t>SS26 VLP – CPS FTW</a:t>
            </a:r>
            <a:endParaRPr lang="en-US" sz="1600" i="1"/>
          </a:p>
        </p:txBody>
      </p:sp>
    </p:spTree>
    <p:extLst>
      <p:ext uri="{BB962C8B-B14F-4D97-AF65-F5344CB8AC3E}">
        <p14:creationId xmlns:p14="http://schemas.microsoft.com/office/powerpoint/2010/main" val="2362062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95693bf-6f16-4727-aac7-151a15e48b1d">
      <UserInfo>
        <DisplayName>SharingLinks.a3ed27fb-8b79-4cef-a476-27dbbdeb3f8a.OrganizationEdit.b86298bb-fbb0-4380-8f4d-058a9a0f2b8c</DisplayName>
        <AccountId>258</AccountId>
        <AccountType/>
      </UserInfo>
      <UserInfo>
        <DisplayName>Asuka Shoji</DisplayName>
        <AccountId>401</AccountId>
        <AccountType/>
      </UserInfo>
      <UserInfo>
        <DisplayName>SharingLinks.3631b29c-7b9c-4e51-97cf-26ab3edb543e.OrganizationEdit.14ea4f20-29f0-4b5b-8298-822fe8bb54ef</DisplayName>
        <AccountId>142</AccountId>
        <AccountType/>
      </UserInfo>
      <UserInfo>
        <DisplayName>SharingLinks.5422ac60-56a7-4fd6-9718-9c4b499e8a89.OrganizationView.1ce61ce9-74f6-4b86-b7b8-6c4257b49f02</DisplayName>
        <AccountId>250</AccountId>
        <AccountType/>
      </UserInfo>
      <UserInfo>
        <DisplayName>SharingLinks.a9a84cb9-3758-4b3e-b948-b40201d01bc9.OrganizationView.921f108b-6748-4d8c-b8fd-a86bc533bbbe</DisplayName>
        <AccountId>1593</AccountId>
        <AccountType/>
      </UserInfo>
      <UserInfo>
        <DisplayName>Domenico Caldarone</DisplayName>
        <AccountId>3162</AccountId>
        <AccountType/>
      </UserInfo>
      <UserInfo>
        <DisplayName>Peter Hermanns</DisplayName>
        <AccountId>11</AccountId>
        <AccountType/>
      </UserInfo>
    </SharedWithUsers>
    <lcf76f155ced4ddcb4097134ff3c332f xmlns="9d006859-1fd0-47b4-be57-6ab7dc50ea96">
      <Terms xmlns="http://schemas.microsoft.com/office/infopath/2007/PartnerControls"/>
    </lcf76f155ced4ddcb4097134ff3c332f>
    <TaxCatchAll xmlns="f95693bf-6f16-4727-aac7-151a15e48b1d" xsi:nil="true"/>
    <MediaLengthInSeconds xmlns="9d006859-1fd0-47b4-be57-6ab7dc50ea9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5542C355759AA4DB0840ADB03883419" ma:contentTypeVersion="19" ma:contentTypeDescription="Create a new document." ma:contentTypeScope="" ma:versionID="1358368543b761e54cc412459e19773d">
  <xsd:schema xmlns:xsd="http://www.w3.org/2001/XMLSchema" xmlns:xs="http://www.w3.org/2001/XMLSchema" xmlns:p="http://schemas.microsoft.com/office/2006/metadata/properties" xmlns:ns2="9d006859-1fd0-47b4-be57-6ab7dc50ea96" xmlns:ns3="f95693bf-6f16-4727-aac7-151a15e48b1d" targetNamespace="http://schemas.microsoft.com/office/2006/metadata/properties" ma:root="true" ma:fieldsID="70be3b22ad123497a36bca73712dd442" ns2:_="" ns3:_="">
    <xsd:import namespace="9d006859-1fd0-47b4-be57-6ab7dc50ea96"/>
    <xsd:import namespace="f95693bf-6f16-4727-aac7-151a15e48b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006859-1fd0-47b4-be57-6ab7dc50ea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d0aae95-5b74-4b3a-b356-ee4d63b75da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5693bf-6f16-4727-aac7-151a15e48b1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b0250ad-4c34-44e2-ada0-926cb277a2b4}" ma:internalName="TaxCatchAll" ma:showField="CatchAllData" ma:web="f95693bf-6f16-4727-aac7-151a15e48b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5529FC-6822-42CE-8829-2907CCAD2D5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69B3A2-1703-44C5-8BCA-1D04A7BBEE9C}">
  <ds:schemaRefs>
    <ds:schemaRef ds:uri="http://purl.org/dc/elements/1.1/"/>
    <ds:schemaRef ds:uri="f95693bf-6f16-4727-aac7-151a15e48b1d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9d006859-1fd0-47b4-be57-6ab7dc50ea96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61EBB2CF-B6F2-41CA-9F38-1C3D0973A4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006859-1fd0-47b4-be57-6ab7dc50ea96"/>
    <ds:schemaRef ds:uri="f95693bf-6f16-4727-aac7-151a15e48b1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9</TotalTime>
  <Words>720</Words>
  <Application>Microsoft Macintosh PowerPoint</Application>
  <PresentationFormat>Panoramiczny</PresentationFormat>
  <Paragraphs>377</Paragraphs>
  <Slides>18</Slides>
  <Notes>2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8</vt:i4>
      </vt:variant>
    </vt:vector>
  </HeadingPairs>
  <TitlesOfParts>
    <vt:vector size="23" baseType="lpstr">
      <vt:lpstr>Arial</vt:lpstr>
      <vt:lpstr>ASICS Font 3.0</vt:lpstr>
      <vt:lpstr>Calibri</vt:lpstr>
      <vt:lpstr>Office Theme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>antonina@aston.trading</cp:lastModifiedBy>
  <cp:revision>8</cp:revision>
  <cp:lastPrinted>2025-02-10T09:34:04Z</cp:lastPrinted>
  <dcterms:created xsi:type="dcterms:W3CDTF">2018-12-07T07:00:49Z</dcterms:created>
  <dcterms:modified xsi:type="dcterms:W3CDTF">2025-05-27T14:18:4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Order">
    <vt:lpwstr>2826900.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ContentTypeId">
    <vt:lpwstr>0x01010055542C355759AA4DB0840ADB03883419</vt:lpwstr>
  </property>
</Properties>
</file>